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4"/>
    <p:sldMasterId id="2147483724" r:id="rId5"/>
    <p:sldMasterId id="2147483830" r:id="rId6"/>
    <p:sldMasterId id="2147483852" r:id="rId7"/>
    <p:sldMasterId id="2147483854" r:id="rId8"/>
  </p:sldMasterIdLst>
  <p:notesMasterIdLst>
    <p:notesMasterId r:id="rId27"/>
  </p:notesMasterIdLst>
  <p:sldIdLst>
    <p:sldId id="620" r:id="rId9"/>
    <p:sldId id="699" r:id="rId10"/>
    <p:sldId id="701" r:id="rId11"/>
    <p:sldId id="734" r:id="rId12"/>
    <p:sldId id="722" r:id="rId13"/>
    <p:sldId id="844" r:id="rId14"/>
    <p:sldId id="672" r:id="rId15"/>
    <p:sldId id="742" r:id="rId16"/>
    <p:sldId id="744" r:id="rId17"/>
    <p:sldId id="745" r:id="rId18"/>
    <p:sldId id="746" r:id="rId19"/>
    <p:sldId id="649" r:id="rId20"/>
    <p:sldId id="726" r:id="rId21"/>
    <p:sldId id="845" r:id="rId22"/>
    <p:sldId id="843" r:id="rId23"/>
    <p:sldId id="707" r:id="rId24"/>
    <p:sldId id="829" r:id="rId25"/>
    <p:sldId id="592" r:id="rId26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49ABF7D5-0DB2-4D2A-8FF7-529C7391A207}">
          <p14:sldIdLst>
            <p14:sldId id="620"/>
          </p14:sldIdLst>
        </p14:section>
        <p14:section name="Helse og mestring" id="{F135C4F6-55E1-614C-85ED-05116A8EE658}">
          <p14:sldIdLst>
            <p14:sldId id="699"/>
            <p14:sldId id="701"/>
            <p14:sldId id="734"/>
            <p14:sldId id="722"/>
            <p14:sldId id="844"/>
            <p14:sldId id="672"/>
            <p14:sldId id="742"/>
            <p14:sldId id="744"/>
            <p14:sldId id="745"/>
            <p14:sldId id="746"/>
            <p14:sldId id="649"/>
            <p14:sldId id="726"/>
            <p14:sldId id="845"/>
            <p14:sldId id="843"/>
            <p14:sldId id="707"/>
            <p14:sldId id="829"/>
            <p14:sldId id="5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7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C9D1051-613C-607F-6FB3-3F5291D2BC95}" name="Elisabet Eide-Fallet" initials="EE" userId="S::elei02@lillestrom.kommune.no::01081e72-2f14-4be0-886e-2ee544f1d6cb" providerId="AD"/>
  <p188:author id="{933B9F78-423E-5294-1567-E8C0F2B981E3}" name="Per Arthur Taugard" initials="PT" userId="S::peta01@lillestrom.kommune.no::c70cea65-925e-4751-9b53-c0270784c536" providerId="AD"/>
  <p188:author id="{4E87F7F3-ED33-601B-B6E5-76B39F2B34F0}" name="Eline Reiten Sæta" initials="ES" userId="S::elwo01@lillestrom.kommune.no::56176a76-5634-465d-8e6b-04b23004d2ca" providerId="AD"/>
  <p188:author id="{15E25BF6-00EA-D481-06A8-1E6BD280CDC3}" name="Linda Årnes Gulbrandsen" initials="LG" userId="S::ligu01@lillestrom.kommune.no::1bac8312-6c3b-48fc-9b42-87b43022ff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78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8832" autoAdjust="0"/>
  </p:normalViewPr>
  <p:slideViewPr>
    <p:cSldViewPr snapToGrid="0">
      <p:cViewPr varScale="1">
        <p:scale>
          <a:sx n="29" d="100"/>
          <a:sy n="29" d="100"/>
        </p:scale>
        <p:origin x="992" y="68"/>
      </p:cViewPr>
      <p:guideLst>
        <p:guide orient="horz" pos="4320"/>
        <p:guide pos="76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sabet Eide-Fallet" userId="01081e72-2f14-4be0-886e-2ee544f1d6cb" providerId="ADAL" clId="{58B34AF1-4DAA-4197-AA6F-292F1E947398}"/>
    <pc:docChg chg="mod modSld">
      <pc:chgData name="Elisabet Eide-Fallet" userId="01081e72-2f14-4be0-886e-2ee544f1d6cb" providerId="ADAL" clId="{58B34AF1-4DAA-4197-AA6F-292F1E947398}" dt="2026-04-20T09:36:15.436" v="58"/>
      <pc:docMkLst>
        <pc:docMk/>
      </pc:docMkLst>
      <pc:sldChg chg="modSp mod">
        <pc:chgData name="Elisabet Eide-Fallet" userId="01081e72-2f14-4be0-886e-2ee544f1d6cb" providerId="ADAL" clId="{58B34AF1-4DAA-4197-AA6F-292F1E947398}" dt="2026-04-20T09:33:35.867" v="56" actId="20577"/>
        <pc:sldMkLst>
          <pc:docMk/>
          <pc:sldMk cId="3796727436" sldId="829"/>
        </pc:sldMkLst>
        <pc:spChg chg="mod">
          <ac:chgData name="Elisabet Eide-Fallet" userId="01081e72-2f14-4be0-886e-2ee544f1d6cb" providerId="ADAL" clId="{58B34AF1-4DAA-4197-AA6F-292F1E947398}" dt="2026-04-20T09:33:35.867" v="56" actId="20577"/>
          <ac:spMkLst>
            <pc:docMk/>
            <pc:sldMk cId="3796727436" sldId="829"/>
            <ac:spMk id="21" creationId="{D21B741B-FD3C-9BA8-9B01-09C38A5BE554}"/>
          </ac:spMkLst>
        </pc:spChg>
      </pc:sldChg>
      <pc:sldChg chg="modNotesTx">
        <pc:chgData name="Elisabet Eide-Fallet" userId="01081e72-2f14-4be0-886e-2ee544f1d6cb" providerId="ADAL" clId="{58B34AF1-4DAA-4197-AA6F-292F1E947398}" dt="2026-04-20T09:32:38.262" v="3" actId="20577"/>
        <pc:sldMkLst>
          <pc:docMk/>
          <pc:sldMk cId="3496623490" sldId="84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35020F-4C28-443D-8F62-6BD9920D880B}" type="doc">
      <dgm:prSet loTypeId="urn:microsoft.com/office/officeart/2005/8/layout/pyramid1" loCatId="pyramid" qsTypeId="urn:microsoft.com/office/officeart/2005/8/quickstyle/simple1" qsCatId="simple" csTypeId="urn:microsoft.com/office/officeart/2005/8/colors/colorful1" csCatId="colorful" phldr="1"/>
      <dgm:spPr/>
    </dgm:pt>
    <dgm:pt modelId="{68D7D830-A35B-4110-A858-BF7F0C754A25}">
      <dgm:prSet phldrT="[Tekst]"/>
      <dgm:spPr>
        <a:solidFill>
          <a:srgbClr val="3C78B4"/>
        </a:solidFill>
      </dgm:spPr>
      <dgm:t>
        <a:bodyPr/>
        <a:lstStyle/>
        <a:p>
          <a:r>
            <a:rPr lang="nb-NO">
              <a:solidFill>
                <a:srgbClr val="FFFFFF"/>
              </a:solidFill>
            </a:rPr>
            <a:t>FACT</a:t>
          </a:r>
        </a:p>
      </dgm:t>
    </dgm:pt>
    <dgm:pt modelId="{737C119B-985E-4897-BC4D-47DE8648F6C3}" type="parTrans" cxnId="{0FFF4402-AFA3-4319-8A55-6C7B9C1B0A70}">
      <dgm:prSet/>
      <dgm:spPr/>
      <dgm:t>
        <a:bodyPr/>
        <a:lstStyle/>
        <a:p>
          <a:endParaRPr lang="nb-NO"/>
        </a:p>
      </dgm:t>
    </dgm:pt>
    <dgm:pt modelId="{1732CDFB-F35F-4A14-938E-6CD7122A669E}" type="sibTrans" cxnId="{0FFF4402-AFA3-4319-8A55-6C7B9C1B0A70}">
      <dgm:prSet/>
      <dgm:spPr/>
      <dgm:t>
        <a:bodyPr/>
        <a:lstStyle/>
        <a:p>
          <a:endParaRPr lang="nb-NO"/>
        </a:p>
      </dgm:t>
    </dgm:pt>
    <dgm:pt modelId="{CCE8A360-15B9-461B-96B9-7182273FB747}">
      <dgm:prSet phldrT="[Tekst]"/>
      <dgm:spPr>
        <a:solidFill>
          <a:srgbClr val="A0D2B4"/>
        </a:solidFill>
      </dgm:spPr>
      <dgm:t>
        <a:bodyPr/>
        <a:lstStyle/>
        <a:p>
          <a:r>
            <a:rPr lang="nb-NO" err="1">
              <a:solidFill>
                <a:srgbClr val="233264"/>
              </a:solidFill>
            </a:rPr>
            <a:t>Drop</a:t>
          </a:r>
          <a:r>
            <a:rPr lang="nb-NO">
              <a:solidFill>
                <a:srgbClr val="233264"/>
              </a:solidFill>
            </a:rPr>
            <a:t>-in samtale(r)</a:t>
          </a:r>
        </a:p>
      </dgm:t>
    </dgm:pt>
    <dgm:pt modelId="{749551C3-575D-43C2-8A33-0315431866F9}" type="parTrans" cxnId="{B527A5D4-C7E4-449F-BBC7-954F91F4258C}">
      <dgm:prSet/>
      <dgm:spPr/>
      <dgm:t>
        <a:bodyPr/>
        <a:lstStyle/>
        <a:p>
          <a:endParaRPr lang="nb-NO"/>
        </a:p>
      </dgm:t>
    </dgm:pt>
    <dgm:pt modelId="{5F3E55B9-3FBF-4759-8D2F-7E2E05144CA0}" type="sibTrans" cxnId="{B527A5D4-C7E4-449F-BBC7-954F91F4258C}">
      <dgm:prSet/>
      <dgm:spPr/>
      <dgm:t>
        <a:bodyPr/>
        <a:lstStyle/>
        <a:p>
          <a:endParaRPr lang="nb-NO"/>
        </a:p>
      </dgm:t>
    </dgm:pt>
    <dgm:pt modelId="{3AAB01C3-8D7F-4CC3-8BF9-DC14A46FDA03}">
      <dgm:prSet phldrT="[Tekst]"/>
      <dgm:spPr>
        <a:solidFill>
          <a:srgbClr val="F07850"/>
        </a:solidFill>
      </dgm:spPr>
      <dgm:t>
        <a:bodyPr/>
        <a:lstStyle/>
        <a:p>
          <a:r>
            <a:rPr lang="nb-NO">
              <a:solidFill>
                <a:srgbClr val="FFFFFF"/>
              </a:solidFill>
            </a:rPr>
            <a:t>Koordinert oppfølging og bistand i hjemmet</a:t>
          </a:r>
        </a:p>
        <a:p>
          <a:r>
            <a:rPr lang="nb-NO">
              <a:solidFill>
                <a:srgbClr val="FFFFFF"/>
              </a:solidFill>
            </a:rPr>
            <a:t>(vedtak)</a:t>
          </a:r>
        </a:p>
      </dgm:t>
    </dgm:pt>
    <dgm:pt modelId="{851E5FAB-DFB8-4100-9742-30394D1C5527}" type="parTrans" cxnId="{669D8C53-F741-4AE2-B5C4-82315E709AE5}">
      <dgm:prSet/>
      <dgm:spPr/>
      <dgm:t>
        <a:bodyPr/>
        <a:lstStyle/>
        <a:p>
          <a:endParaRPr lang="nb-NO"/>
        </a:p>
      </dgm:t>
    </dgm:pt>
    <dgm:pt modelId="{0BF9FA06-7EA3-49FB-A721-49B292C3906E}" type="sibTrans" cxnId="{669D8C53-F741-4AE2-B5C4-82315E709AE5}">
      <dgm:prSet/>
      <dgm:spPr/>
      <dgm:t>
        <a:bodyPr/>
        <a:lstStyle/>
        <a:p>
          <a:endParaRPr lang="nb-NO"/>
        </a:p>
      </dgm:t>
    </dgm:pt>
    <dgm:pt modelId="{2898EB26-693B-4821-B13F-8D1E24038C1B}">
      <dgm:prSet phldrT="[Tekst]"/>
      <dgm:spPr>
        <a:solidFill>
          <a:srgbClr val="F0C8A0"/>
        </a:solidFill>
      </dgm:spPr>
      <dgm:t>
        <a:bodyPr/>
        <a:lstStyle/>
        <a:p>
          <a:r>
            <a:rPr lang="nb-NO">
              <a:solidFill>
                <a:srgbClr val="233264"/>
              </a:solidFill>
            </a:rPr>
            <a:t>Fleksibel oppfølging med kontaktperson</a:t>
          </a:r>
        </a:p>
      </dgm:t>
    </dgm:pt>
    <dgm:pt modelId="{AC4EB1E3-58B8-4F5F-BF24-984EFA531EAE}" type="parTrans" cxnId="{B396E23C-8230-4BD2-ABF5-1651E606B661}">
      <dgm:prSet/>
      <dgm:spPr/>
      <dgm:t>
        <a:bodyPr/>
        <a:lstStyle/>
        <a:p>
          <a:endParaRPr lang="nb-NO"/>
        </a:p>
      </dgm:t>
    </dgm:pt>
    <dgm:pt modelId="{07B666CE-27C0-45CD-A7B0-E1BA7B5D2252}" type="sibTrans" cxnId="{B396E23C-8230-4BD2-ABF5-1651E606B661}">
      <dgm:prSet/>
      <dgm:spPr/>
      <dgm:t>
        <a:bodyPr/>
        <a:lstStyle/>
        <a:p>
          <a:endParaRPr lang="nb-NO"/>
        </a:p>
      </dgm:t>
    </dgm:pt>
    <dgm:pt modelId="{882B891F-E944-4CAD-B1AD-55EECEDD28CA}">
      <dgm:prSet phldrT="[Tekst]" custT="1"/>
      <dgm:spPr>
        <a:solidFill>
          <a:srgbClr val="233264"/>
        </a:solidFill>
      </dgm:spPr>
      <dgm:t>
        <a:bodyPr/>
        <a:lstStyle/>
        <a:p>
          <a:br>
            <a:rPr lang="nb-NO" sz="1200" b="0">
              <a:solidFill>
                <a:srgbClr val="FFFFFF"/>
              </a:solidFill>
            </a:rPr>
          </a:br>
          <a:br>
            <a:rPr lang="nb-NO" sz="1200" b="0">
              <a:solidFill>
                <a:srgbClr val="FFFFFF"/>
              </a:solidFill>
            </a:rPr>
          </a:br>
          <a:r>
            <a:rPr lang="nb-NO" sz="1200" b="0">
              <a:solidFill>
                <a:srgbClr val="FFFFFF"/>
              </a:solidFill>
            </a:rPr>
            <a:t>Bolig med </a:t>
          </a:r>
          <a:br>
            <a:rPr lang="nb-NO" sz="1200" b="0">
              <a:solidFill>
                <a:srgbClr val="FFFFFF"/>
              </a:solidFill>
            </a:rPr>
          </a:br>
          <a:r>
            <a:rPr lang="nb-NO" sz="1200" b="0">
              <a:solidFill>
                <a:srgbClr val="FFFFFF"/>
              </a:solidFill>
            </a:rPr>
            <a:t>bemanning</a:t>
          </a:r>
        </a:p>
      </dgm:t>
    </dgm:pt>
    <dgm:pt modelId="{C32ED5AD-77E8-466C-BDE2-B81A9209806F}" type="parTrans" cxnId="{A8DE1E49-540F-43E6-ADB0-493457D8B21F}">
      <dgm:prSet/>
      <dgm:spPr/>
      <dgm:t>
        <a:bodyPr/>
        <a:lstStyle/>
        <a:p>
          <a:endParaRPr lang="nb-NO"/>
        </a:p>
      </dgm:t>
    </dgm:pt>
    <dgm:pt modelId="{FB83B1E5-DF1A-4FE8-9D7C-9F23840C3DBE}" type="sibTrans" cxnId="{A8DE1E49-540F-43E6-ADB0-493457D8B21F}">
      <dgm:prSet/>
      <dgm:spPr/>
      <dgm:t>
        <a:bodyPr/>
        <a:lstStyle/>
        <a:p>
          <a:endParaRPr lang="nb-NO"/>
        </a:p>
      </dgm:t>
    </dgm:pt>
    <dgm:pt modelId="{CCED8382-0F49-4227-B2ED-3186B36CDCB6}" type="pres">
      <dgm:prSet presAssocID="{CE35020F-4C28-443D-8F62-6BD9920D880B}" presName="Name0" presStyleCnt="0">
        <dgm:presLayoutVars>
          <dgm:dir/>
          <dgm:animLvl val="lvl"/>
          <dgm:resizeHandles val="exact"/>
        </dgm:presLayoutVars>
      </dgm:prSet>
      <dgm:spPr/>
    </dgm:pt>
    <dgm:pt modelId="{ADBCFE30-A9FD-4B6E-A183-12493EEDA295}" type="pres">
      <dgm:prSet presAssocID="{882B891F-E944-4CAD-B1AD-55EECEDD28CA}" presName="Name8" presStyleCnt="0"/>
      <dgm:spPr/>
    </dgm:pt>
    <dgm:pt modelId="{6B583BB9-9B2A-486B-B294-5422D4AF1768}" type="pres">
      <dgm:prSet presAssocID="{882B891F-E944-4CAD-B1AD-55EECEDD28CA}" presName="level" presStyleLbl="node1" presStyleIdx="0" presStyleCnt="5" custScaleY="47929">
        <dgm:presLayoutVars>
          <dgm:chMax val="1"/>
          <dgm:bulletEnabled val="1"/>
        </dgm:presLayoutVars>
      </dgm:prSet>
      <dgm:spPr/>
    </dgm:pt>
    <dgm:pt modelId="{E8E220D9-8119-4238-847F-EE248212DBCC}" type="pres">
      <dgm:prSet presAssocID="{882B891F-E944-4CAD-B1AD-55EECEDD28C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0AC4C89-AC07-4073-BED9-74C7716CEB30}" type="pres">
      <dgm:prSet presAssocID="{68D7D830-A35B-4110-A858-BF7F0C754A25}" presName="Name8" presStyleCnt="0"/>
      <dgm:spPr/>
    </dgm:pt>
    <dgm:pt modelId="{CDD796B9-2E5B-4D6B-8747-7272A1E3152A}" type="pres">
      <dgm:prSet presAssocID="{68D7D830-A35B-4110-A858-BF7F0C754A25}" presName="level" presStyleLbl="node1" presStyleIdx="1" presStyleCnt="5" custScaleY="20858">
        <dgm:presLayoutVars>
          <dgm:chMax val="1"/>
          <dgm:bulletEnabled val="1"/>
        </dgm:presLayoutVars>
      </dgm:prSet>
      <dgm:spPr/>
    </dgm:pt>
    <dgm:pt modelId="{1BB9441F-0349-44B5-AAE2-95F29C8B6F74}" type="pres">
      <dgm:prSet presAssocID="{68D7D830-A35B-4110-A858-BF7F0C754A2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946FB8F-6457-4850-952D-4C4B1F4533B5}" type="pres">
      <dgm:prSet presAssocID="{3AAB01C3-8D7F-4CC3-8BF9-DC14A46FDA03}" presName="Name8" presStyleCnt="0"/>
      <dgm:spPr/>
    </dgm:pt>
    <dgm:pt modelId="{E8F89207-F717-4D84-8794-CD3D1DE7F2D7}" type="pres">
      <dgm:prSet presAssocID="{3AAB01C3-8D7F-4CC3-8BF9-DC14A46FDA03}" presName="level" presStyleLbl="node1" presStyleIdx="2" presStyleCnt="5" custFlipVert="0" custScaleY="30897">
        <dgm:presLayoutVars>
          <dgm:chMax val="1"/>
          <dgm:bulletEnabled val="1"/>
        </dgm:presLayoutVars>
      </dgm:prSet>
      <dgm:spPr/>
    </dgm:pt>
    <dgm:pt modelId="{42C6C049-D349-4B37-ACF6-2A4D6E1BF81A}" type="pres">
      <dgm:prSet presAssocID="{3AAB01C3-8D7F-4CC3-8BF9-DC14A46FDA0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F085DB7-9180-485F-AFAD-5D5C0D4B4122}" type="pres">
      <dgm:prSet presAssocID="{2898EB26-693B-4821-B13F-8D1E24038C1B}" presName="Name8" presStyleCnt="0"/>
      <dgm:spPr/>
    </dgm:pt>
    <dgm:pt modelId="{9A8FAAF0-51AC-42D9-B322-C2597E91E924}" type="pres">
      <dgm:prSet presAssocID="{2898EB26-693B-4821-B13F-8D1E24038C1B}" presName="level" presStyleLbl="node1" presStyleIdx="3" presStyleCnt="5" custScaleY="90529">
        <dgm:presLayoutVars>
          <dgm:chMax val="1"/>
          <dgm:bulletEnabled val="1"/>
        </dgm:presLayoutVars>
      </dgm:prSet>
      <dgm:spPr/>
    </dgm:pt>
    <dgm:pt modelId="{16EE9321-4173-4B9D-AFBA-664DAA443068}" type="pres">
      <dgm:prSet presAssocID="{2898EB26-693B-4821-B13F-8D1E24038C1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4B8F0E7-32A0-4CF3-8BA3-E26F9932C90C}" type="pres">
      <dgm:prSet presAssocID="{CCE8A360-15B9-461B-96B9-7182273FB747}" presName="Name8" presStyleCnt="0"/>
      <dgm:spPr/>
    </dgm:pt>
    <dgm:pt modelId="{01E0F7A4-BA11-4662-A638-070708D128DF}" type="pres">
      <dgm:prSet presAssocID="{CCE8A360-15B9-461B-96B9-7182273FB747}" presName="level" presStyleLbl="node1" presStyleIdx="4" presStyleCnt="5" custLinFactNeighborX="-2041" custLinFactNeighborY="13511">
        <dgm:presLayoutVars>
          <dgm:chMax val="1"/>
          <dgm:bulletEnabled val="1"/>
        </dgm:presLayoutVars>
      </dgm:prSet>
      <dgm:spPr/>
    </dgm:pt>
    <dgm:pt modelId="{83BE6110-3BBB-4493-9265-BB852E644943}" type="pres">
      <dgm:prSet presAssocID="{CCE8A360-15B9-461B-96B9-7182273FB747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FFF4402-AFA3-4319-8A55-6C7B9C1B0A70}" srcId="{CE35020F-4C28-443D-8F62-6BD9920D880B}" destId="{68D7D830-A35B-4110-A858-BF7F0C754A25}" srcOrd="1" destOrd="0" parTransId="{737C119B-985E-4897-BC4D-47DE8648F6C3}" sibTransId="{1732CDFB-F35F-4A14-938E-6CD7122A669E}"/>
    <dgm:cxn modelId="{79F6260A-C28A-457F-8616-CABED419E10E}" type="presOf" srcId="{882B891F-E944-4CAD-B1AD-55EECEDD28CA}" destId="{E8E220D9-8119-4238-847F-EE248212DBCC}" srcOrd="1" destOrd="0" presId="urn:microsoft.com/office/officeart/2005/8/layout/pyramid1"/>
    <dgm:cxn modelId="{FF0E7035-8F44-4C29-A9F0-0CFF058DFA77}" type="presOf" srcId="{882B891F-E944-4CAD-B1AD-55EECEDD28CA}" destId="{6B583BB9-9B2A-486B-B294-5422D4AF1768}" srcOrd="0" destOrd="0" presId="urn:microsoft.com/office/officeart/2005/8/layout/pyramid1"/>
    <dgm:cxn modelId="{B5FB7D3B-0FD9-4573-BDDA-736032F643C3}" type="presOf" srcId="{CCE8A360-15B9-461B-96B9-7182273FB747}" destId="{83BE6110-3BBB-4493-9265-BB852E644943}" srcOrd="1" destOrd="0" presId="urn:microsoft.com/office/officeart/2005/8/layout/pyramid1"/>
    <dgm:cxn modelId="{B396E23C-8230-4BD2-ABF5-1651E606B661}" srcId="{CE35020F-4C28-443D-8F62-6BD9920D880B}" destId="{2898EB26-693B-4821-B13F-8D1E24038C1B}" srcOrd="3" destOrd="0" parTransId="{AC4EB1E3-58B8-4F5F-BF24-984EFA531EAE}" sibTransId="{07B666CE-27C0-45CD-A7B0-E1BA7B5D2252}"/>
    <dgm:cxn modelId="{8C2D5963-52A8-4F99-8B08-F02B9284A175}" type="presOf" srcId="{2898EB26-693B-4821-B13F-8D1E24038C1B}" destId="{9A8FAAF0-51AC-42D9-B322-C2597E91E924}" srcOrd="0" destOrd="0" presId="urn:microsoft.com/office/officeart/2005/8/layout/pyramid1"/>
    <dgm:cxn modelId="{A8DE1E49-540F-43E6-ADB0-493457D8B21F}" srcId="{CE35020F-4C28-443D-8F62-6BD9920D880B}" destId="{882B891F-E944-4CAD-B1AD-55EECEDD28CA}" srcOrd="0" destOrd="0" parTransId="{C32ED5AD-77E8-466C-BDE2-B81A9209806F}" sibTransId="{FB83B1E5-DF1A-4FE8-9D7C-9F23840C3DBE}"/>
    <dgm:cxn modelId="{78341851-6F84-443E-8676-27C42A3F427C}" type="presOf" srcId="{68D7D830-A35B-4110-A858-BF7F0C754A25}" destId="{1BB9441F-0349-44B5-AAE2-95F29C8B6F74}" srcOrd="1" destOrd="0" presId="urn:microsoft.com/office/officeart/2005/8/layout/pyramid1"/>
    <dgm:cxn modelId="{669D8C53-F741-4AE2-B5C4-82315E709AE5}" srcId="{CE35020F-4C28-443D-8F62-6BD9920D880B}" destId="{3AAB01C3-8D7F-4CC3-8BF9-DC14A46FDA03}" srcOrd="2" destOrd="0" parTransId="{851E5FAB-DFB8-4100-9742-30394D1C5527}" sibTransId="{0BF9FA06-7EA3-49FB-A721-49B292C3906E}"/>
    <dgm:cxn modelId="{4D40E293-7FEB-4491-B900-76698CCF2D13}" type="presOf" srcId="{CCE8A360-15B9-461B-96B9-7182273FB747}" destId="{01E0F7A4-BA11-4662-A638-070708D128DF}" srcOrd="0" destOrd="0" presId="urn:microsoft.com/office/officeart/2005/8/layout/pyramid1"/>
    <dgm:cxn modelId="{4154C597-D44F-4122-AF36-D908F703A845}" type="presOf" srcId="{2898EB26-693B-4821-B13F-8D1E24038C1B}" destId="{16EE9321-4173-4B9D-AFBA-664DAA443068}" srcOrd="1" destOrd="0" presId="urn:microsoft.com/office/officeart/2005/8/layout/pyramid1"/>
    <dgm:cxn modelId="{9B70DAA5-EC9C-4623-9474-EFA7203DA0FC}" type="presOf" srcId="{3AAB01C3-8D7F-4CC3-8BF9-DC14A46FDA03}" destId="{E8F89207-F717-4D84-8794-CD3D1DE7F2D7}" srcOrd="0" destOrd="0" presId="urn:microsoft.com/office/officeart/2005/8/layout/pyramid1"/>
    <dgm:cxn modelId="{A1A96FBA-A67E-4678-895C-397ADF705247}" type="presOf" srcId="{68D7D830-A35B-4110-A858-BF7F0C754A25}" destId="{CDD796B9-2E5B-4D6B-8747-7272A1E3152A}" srcOrd="0" destOrd="0" presId="urn:microsoft.com/office/officeart/2005/8/layout/pyramid1"/>
    <dgm:cxn modelId="{74770AD2-69F8-403B-85A6-2D25C99F3A12}" type="presOf" srcId="{CE35020F-4C28-443D-8F62-6BD9920D880B}" destId="{CCED8382-0F49-4227-B2ED-3186B36CDCB6}" srcOrd="0" destOrd="0" presId="urn:microsoft.com/office/officeart/2005/8/layout/pyramid1"/>
    <dgm:cxn modelId="{B527A5D4-C7E4-449F-BBC7-954F91F4258C}" srcId="{CE35020F-4C28-443D-8F62-6BD9920D880B}" destId="{CCE8A360-15B9-461B-96B9-7182273FB747}" srcOrd="4" destOrd="0" parTransId="{749551C3-575D-43C2-8A33-0315431866F9}" sibTransId="{5F3E55B9-3FBF-4759-8D2F-7E2E05144CA0}"/>
    <dgm:cxn modelId="{6E7DD8F9-93CF-4F37-9991-BD424463126C}" type="presOf" srcId="{3AAB01C3-8D7F-4CC3-8BF9-DC14A46FDA03}" destId="{42C6C049-D349-4B37-ACF6-2A4D6E1BF81A}" srcOrd="1" destOrd="0" presId="urn:microsoft.com/office/officeart/2005/8/layout/pyramid1"/>
    <dgm:cxn modelId="{0A83E548-F77A-4F79-A493-FEADB7DF1A2E}" type="presParOf" srcId="{CCED8382-0F49-4227-B2ED-3186B36CDCB6}" destId="{ADBCFE30-A9FD-4B6E-A183-12493EEDA295}" srcOrd="0" destOrd="0" presId="urn:microsoft.com/office/officeart/2005/8/layout/pyramid1"/>
    <dgm:cxn modelId="{C00AC94B-DC4C-4AC5-90AD-AD1E3FE52284}" type="presParOf" srcId="{ADBCFE30-A9FD-4B6E-A183-12493EEDA295}" destId="{6B583BB9-9B2A-486B-B294-5422D4AF1768}" srcOrd="0" destOrd="0" presId="urn:microsoft.com/office/officeart/2005/8/layout/pyramid1"/>
    <dgm:cxn modelId="{27746967-1ED7-4278-8F3F-C010030AA7B4}" type="presParOf" srcId="{ADBCFE30-A9FD-4B6E-A183-12493EEDA295}" destId="{E8E220D9-8119-4238-847F-EE248212DBCC}" srcOrd="1" destOrd="0" presId="urn:microsoft.com/office/officeart/2005/8/layout/pyramid1"/>
    <dgm:cxn modelId="{BD5C1A24-D6D8-42BF-81ED-DE4DB55E3AEF}" type="presParOf" srcId="{CCED8382-0F49-4227-B2ED-3186B36CDCB6}" destId="{50AC4C89-AC07-4073-BED9-74C7716CEB30}" srcOrd="1" destOrd="0" presId="urn:microsoft.com/office/officeart/2005/8/layout/pyramid1"/>
    <dgm:cxn modelId="{614CC199-5C47-4EF9-A923-78CF9A5C22DE}" type="presParOf" srcId="{50AC4C89-AC07-4073-BED9-74C7716CEB30}" destId="{CDD796B9-2E5B-4D6B-8747-7272A1E3152A}" srcOrd="0" destOrd="0" presId="urn:microsoft.com/office/officeart/2005/8/layout/pyramid1"/>
    <dgm:cxn modelId="{A2851068-5DC6-4D74-B96F-A9C94B9039F0}" type="presParOf" srcId="{50AC4C89-AC07-4073-BED9-74C7716CEB30}" destId="{1BB9441F-0349-44B5-AAE2-95F29C8B6F74}" srcOrd="1" destOrd="0" presId="urn:microsoft.com/office/officeart/2005/8/layout/pyramid1"/>
    <dgm:cxn modelId="{3EEC957F-DAFF-467A-AA91-AE73CA4FE96C}" type="presParOf" srcId="{CCED8382-0F49-4227-B2ED-3186B36CDCB6}" destId="{1946FB8F-6457-4850-952D-4C4B1F4533B5}" srcOrd="2" destOrd="0" presId="urn:microsoft.com/office/officeart/2005/8/layout/pyramid1"/>
    <dgm:cxn modelId="{D5EB6475-CB2F-4D5E-A143-2CD535D46090}" type="presParOf" srcId="{1946FB8F-6457-4850-952D-4C4B1F4533B5}" destId="{E8F89207-F717-4D84-8794-CD3D1DE7F2D7}" srcOrd="0" destOrd="0" presId="urn:microsoft.com/office/officeart/2005/8/layout/pyramid1"/>
    <dgm:cxn modelId="{8535A475-E0CE-48E0-9BB3-C3CA53FB910E}" type="presParOf" srcId="{1946FB8F-6457-4850-952D-4C4B1F4533B5}" destId="{42C6C049-D349-4B37-ACF6-2A4D6E1BF81A}" srcOrd="1" destOrd="0" presId="urn:microsoft.com/office/officeart/2005/8/layout/pyramid1"/>
    <dgm:cxn modelId="{4004517B-14C6-44A7-97C5-BC56F45FAC2A}" type="presParOf" srcId="{CCED8382-0F49-4227-B2ED-3186B36CDCB6}" destId="{5F085DB7-9180-485F-AFAD-5D5C0D4B4122}" srcOrd="3" destOrd="0" presId="urn:microsoft.com/office/officeart/2005/8/layout/pyramid1"/>
    <dgm:cxn modelId="{246525CC-7C26-4CAB-A2C8-7C3BAD58A81B}" type="presParOf" srcId="{5F085DB7-9180-485F-AFAD-5D5C0D4B4122}" destId="{9A8FAAF0-51AC-42D9-B322-C2597E91E924}" srcOrd="0" destOrd="0" presId="urn:microsoft.com/office/officeart/2005/8/layout/pyramid1"/>
    <dgm:cxn modelId="{A6C99980-EA54-4AFE-855A-19F6C68DA067}" type="presParOf" srcId="{5F085DB7-9180-485F-AFAD-5D5C0D4B4122}" destId="{16EE9321-4173-4B9D-AFBA-664DAA443068}" srcOrd="1" destOrd="0" presId="urn:microsoft.com/office/officeart/2005/8/layout/pyramid1"/>
    <dgm:cxn modelId="{2DF2517C-9AA4-44FF-A871-00D4D2F0875E}" type="presParOf" srcId="{CCED8382-0F49-4227-B2ED-3186B36CDCB6}" destId="{74B8F0E7-32A0-4CF3-8BA3-E26F9932C90C}" srcOrd="4" destOrd="0" presId="urn:microsoft.com/office/officeart/2005/8/layout/pyramid1"/>
    <dgm:cxn modelId="{24638759-BCE2-4E92-A837-7B710F4D6118}" type="presParOf" srcId="{74B8F0E7-32A0-4CF3-8BA3-E26F9932C90C}" destId="{01E0F7A4-BA11-4662-A638-070708D128DF}" srcOrd="0" destOrd="0" presId="urn:microsoft.com/office/officeart/2005/8/layout/pyramid1"/>
    <dgm:cxn modelId="{D82C89D1-055C-4BA6-A4DC-CDF69B4BA1D1}" type="presParOf" srcId="{74B8F0E7-32A0-4CF3-8BA3-E26F9932C90C}" destId="{83BE6110-3BBB-4493-9265-BB852E644943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583BB9-9B2A-486B-B294-5422D4AF1768}">
      <dsp:nvSpPr>
        <dsp:cNvPr id="0" name=""/>
        <dsp:cNvSpPr/>
      </dsp:nvSpPr>
      <dsp:spPr>
        <a:xfrm>
          <a:off x="6784768" y="0"/>
          <a:ext cx="2684347" cy="1789564"/>
        </a:xfrm>
        <a:prstGeom prst="trapezoid">
          <a:avLst>
            <a:gd name="adj" fmla="val 75000"/>
          </a:avLst>
        </a:prstGeom>
        <a:solidFill>
          <a:srgbClr val="2332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nb-NO" sz="1200" b="0" kern="1200">
              <a:solidFill>
                <a:srgbClr val="FFFFFF"/>
              </a:solidFill>
            </a:rPr>
          </a:br>
          <a:br>
            <a:rPr lang="nb-NO" sz="1200" b="0" kern="1200">
              <a:solidFill>
                <a:srgbClr val="FFFFFF"/>
              </a:solidFill>
            </a:rPr>
          </a:br>
          <a:r>
            <a:rPr lang="nb-NO" sz="1200" b="0" kern="1200">
              <a:solidFill>
                <a:srgbClr val="FFFFFF"/>
              </a:solidFill>
            </a:rPr>
            <a:t>Bolig med </a:t>
          </a:r>
          <a:br>
            <a:rPr lang="nb-NO" sz="1200" b="0" kern="1200">
              <a:solidFill>
                <a:srgbClr val="FFFFFF"/>
              </a:solidFill>
            </a:rPr>
          </a:br>
          <a:r>
            <a:rPr lang="nb-NO" sz="1200" b="0" kern="1200">
              <a:solidFill>
                <a:srgbClr val="FFFFFF"/>
              </a:solidFill>
            </a:rPr>
            <a:t>bemanning</a:t>
          </a:r>
        </a:p>
      </dsp:txBody>
      <dsp:txXfrm>
        <a:off x="6784768" y="0"/>
        <a:ext cx="2684347" cy="1789564"/>
      </dsp:txXfrm>
    </dsp:sp>
    <dsp:sp modelId="{CDD796B9-2E5B-4D6B-8747-7272A1E3152A}">
      <dsp:nvSpPr>
        <dsp:cNvPr id="0" name=""/>
        <dsp:cNvSpPr/>
      </dsp:nvSpPr>
      <dsp:spPr>
        <a:xfrm>
          <a:off x="6200674" y="1789564"/>
          <a:ext cx="3852535" cy="778792"/>
        </a:xfrm>
        <a:prstGeom prst="trapezoid">
          <a:avLst>
            <a:gd name="adj" fmla="val 75000"/>
          </a:avLst>
        </a:prstGeom>
        <a:solidFill>
          <a:srgbClr val="3C78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>
              <a:solidFill>
                <a:srgbClr val="FFFFFF"/>
              </a:solidFill>
            </a:rPr>
            <a:t>FACT</a:t>
          </a:r>
        </a:p>
      </dsp:txBody>
      <dsp:txXfrm>
        <a:off x="6874867" y="1789564"/>
        <a:ext cx="2504148" cy="778792"/>
      </dsp:txXfrm>
    </dsp:sp>
    <dsp:sp modelId="{E8F89207-F717-4D84-8794-CD3D1DE7F2D7}">
      <dsp:nvSpPr>
        <dsp:cNvPr id="0" name=""/>
        <dsp:cNvSpPr/>
      </dsp:nvSpPr>
      <dsp:spPr>
        <a:xfrm>
          <a:off x="5335454" y="2568356"/>
          <a:ext cx="5582975" cy="1153626"/>
        </a:xfrm>
        <a:prstGeom prst="trapezoid">
          <a:avLst>
            <a:gd name="adj" fmla="val 75000"/>
          </a:avLst>
        </a:prstGeom>
        <a:solidFill>
          <a:srgbClr val="F078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>
              <a:solidFill>
                <a:srgbClr val="FFFFFF"/>
              </a:solidFill>
            </a:rPr>
            <a:t>Koordinert oppfølging og bistand i hjemmet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>
              <a:solidFill>
                <a:srgbClr val="FFFFFF"/>
              </a:solidFill>
            </a:rPr>
            <a:t>(vedtak)</a:t>
          </a:r>
        </a:p>
      </dsp:txBody>
      <dsp:txXfrm>
        <a:off x="6312474" y="2568356"/>
        <a:ext cx="3628934" cy="1153626"/>
      </dsp:txXfrm>
    </dsp:sp>
    <dsp:sp modelId="{9A8FAAF0-51AC-42D9-B322-C2597E91E924}">
      <dsp:nvSpPr>
        <dsp:cNvPr id="0" name=""/>
        <dsp:cNvSpPr/>
      </dsp:nvSpPr>
      <dsp:spPr>
        <a:xfrm>
          <a:off x="2800336" y="3721983"/>
          <a:ext cx="10653210" cy="3380155"/>
        </a:xfrm>
        <a:prstGeom prst="trapezoid">
          <a:avLst>
            <a:gd name="adj" fmla="val 75000"/>
          </a:avLst>
        </a:prstGeom>
        <a:solidFill>
          <a:srgbClr val="F0C8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>
              <a:solidFill>
                <a:srgbClr val="233264"/>
              </a:solidFill>
            </a:rPr>
            <a:t>Fleksibel oppfølging med kontaktperson</a:t>
          </a:r>
        </a:p>
      </dsp:txBody>
      <dsp:txXfrm>
        <a:off x="4664648" y="3721983"/>
        <a:ext cx="6924586" cy="3380155"/>
      </dsp:txXfrm>
    </dsp:sp>
    <dsp:sp modelId="{01E0F7A4-BA11-4662-A638-070708D128DF}">
      <dsp:nvSpPr>
        <dsp:cNvPr id="0" name=""/>
        <dsp:cNvSpPr/>
      </dsp:nvSpPr>
      <dsp:spPr>
        <a:xfrm>
          <a:off x="0" y="7102139"/>
          <a:ext cx="16253884" cy="3733782"/>
        </a:xfrm>
        <a:prstGeom prst="trapezoid">
          <a:avLst>
            <a:gd name="adj" fmla="val 75000"/>
          </a:avLst>
        </a:prstGeom>
        <a:solidFill>
          <a:srgbClr val="A0D2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err="1">
              <a:solidFill>
                <a:srgbClr val="233264"/>
              </a:solidFill>
            </a:rPr>
            <a:t>Drop</a:t>
          </a:r>
          <a:r>
            <a:rPr lang="nb-NO" sz="2400" kern="1200">
              <a:solidFill>
                <a:srgbClr val="233264"/>
              </a:solidFill>
            </a:rPr>
            <a:t>-in samtale(r)</a:t>
          </a:r>
        </a:p>
      </dsp:txBody>
      <dsp:txXfrm>
        <a:off x="2844429" y="7102139"/>
        <a:ext cx="10565024" cy="37337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1857B-8249-419A-9874-40D50F9FB5EF}" type="datetimeFigureOut">
              <a:rPr lang="nb-NO" smtClean="0"/>
              <a:t>18.04.202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43DA88-B4E3-4457-9F46-44A4AB422E5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6051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>
                <a:solidFill>
                  <a:schemeClr val="bg1"/>
                </a:solidFill>
              </a:rPr>
              <a:t>Less is more – </a:t>
            </a:r>
            <a:r>
              <a:rPr lang="nb-NO" sz="1800" dirty="0" err="1">
                <a:solidFill>
                  <a:schemeClr val="bg1"/>
                </a:solidFill>
              </a:rPr>
              <a:t>Yes</a:t>
            </a:r>
            <a:r>
              <a:rPr lang="nb-NO" sz="1800" dirty="0">
                <a:solidFill>
                  <a:schemeClr val="bg1"/>
                </a:solidFill>
              </a:rPr>
              <a:t> to all! </a:t>
            </a:r>
            <a:endParaRPr lang="nb-NO" sz="180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15B3D8-2000-4493-A6DE-9426057FF86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990261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CB3237-6847-BE20-5417-B10A0F8A6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B929B4CD-8B7F-6275-5B3F-80E41C70F2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26DFF022-0DF6-6067-C406-3CB27516C8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005EEF6-F099-CC6A-1E26-FCCAAFE184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43DA88-B4E3-4457-9F46-44A4AB422E5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213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43DA88-B4E3-4457-9F46-44A4AB422E57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27521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0000"/>
                </a:solidFill>
                <a:latin typeface="Aptos"/>
                <a:cs typeface="Arial"/>
              </a:rPr>
              <a:t>Siden </a:t>
            </a:r>
            <a:r>
              <a:rPr lang="en-US" sz="2400" dirty="0" err="1">
                <a:solidFill>
                  <a:srgbClr val="000000"/>
                </a:solidFill>
                <a:latin typeface="Aptos"/>
                <a:cs typeface="Arial"/>
              </a:rPr>
              <a:t>januar</a:t>
            </a:r>
            <a:r>
              <a:rPr lang="en-US" sz="2400" dirty="0">
                <a:solidFill>
                  <a:srgbClr val="000000"/>
                </a:solidFill>
                <a:latin typeface="Aptos"/>
                <a:cs typeface="Arial"/>
              </a:rPr>
              <a:t> 2026: 70/13/16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43DA88-B4E3-4457-9F46-44A4AB422E5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410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43DA88-B4E3-4457-9F46-44A4AB422E57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6001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39E83B-4708-37A3-073C-D562547136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36742E4B-B6C2-79E3-E41E-281658B662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5C3D81FD-09BF-916F-FF1E-9FA6B354B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Antatt at 60% ikke får mer enn </a:t>
            </a:r>
            <a:r>
              <a:rPr lang="nb-NO" dirty="0" err="1"/>
              <a:t>Drop</a:t>
            </a:r>
            <a:r>
              <a:rPr lang="nb-NO" dirty="0"/>
              <a:t>-in: 1230 bookinger: 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0010574-AA9C-0ABA-D913-7D2A40DBF4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43DA88-B4E3-4457-9F46-44A4AB422E57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5909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BDA3138-A1DB-41F3-909D-7EFCACC6DF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802" y="2244726"/>
            <a:ext cx="18286810" cy="4775200"/>
          </a:xfrm>
        </p:spPr>
        <p:txBody>
          <a:bodyPr anchor="b"/>
          <a:lstStyle>
            <a:lvl1pPr algn="ctr">
              <a:defRPr sz="119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5CA053A-AEA1-4F39-A041-671013204F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802" y="7204076"/>
            <a:ext cx="1828681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238CFE3-B51B-4EA4-94DB-60865B929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071741A-296F-41E9-8337-2263E44A7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2E80D0D-EA39-4A85-9C44-143DD7DDF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9619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99D7267-C3A5-4119-A136-12903E27F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822C818-56D1-4296-8D98-7F2A9883EF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59A618-F067-4EBF-B972-FC858E1A5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E4A371C-1A1C-4966-A6FB-1D42D46F2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C71207-649F-40AB-B414-4085BAABA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7281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79065161-6EF6-49F6-8DB8-C5249EA4DE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8664" y="730250"/>
            <a:ext cx="5257458" cy="11623676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C215A1CF-F1A3-4D10-9687-4763CCB3C8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291" y="730250"/>
            <a:ext cx="15467593" cy="11623676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D22F211-ED3F-44FE-B242-7D3D8D78E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1CB370A-2B09-432D-8188-B4061537F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06DB331-512A-407F-A659-B80C821EC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323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&#10;&#10;Description automatically generated with medium confidence">
            <a:extLst>
              <a:ext uri="{FF2B5EF4-FFF2-40B4-BE49-F238E27FC236}">
                <a16:creationId xmlns:a16="http://schemas.microsoft.com/office/drawing/2014/main" id="{4BB8F079-48E7-D04E-8105-71ABB35531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062" y="-1469036"/>
            <a:ext cx="5040164" cy="5040492"/>
          </a:xfrm>
          <a:prstGeom prst="rect">
            <a:avLst/>
          </a:prstGeom>
        </p:spPr>
      </p:pic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C98E4FE-D119-7748-97D3-E13D1AEE883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191206" y="0"/>
            <a:ext cx="12191207" cy="13716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</p:spTree>
    <p:extLst>
      <p:ext uri="{BB962C8B-B14F-4D97-AF65-F5344CB8AC3E}">
        <p14:creationId xmlns:p14="http://schemas.microsoft.com/office/powerpoint/2010/main" val="877535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grpSp>
        <p:nvGrpSpPr>
          <p:cNvPr id="6" name="Stående form 7">
            <a:extLst>
              <a:ext uri="{FF2B5EF4-FFF2-40B4-BE49-F238E27FC236}">
                <a16:creationId xmlns:a16="http://schemas.microsoft.com/office/drawing/2014/main" id="{BD6836DC-10F4-4BDA-85FB-0AB85EDD5878}"/>
              </a:ext>
            </a:extLst>
          </p:cNvPr>
          <p:cNvGrpSpPr/>
          <p:nvPr/>
        </p:nvGrpSpPr>
        <p:grpSpPr>
          <a:xfrm>
            <a:off x="17524411" y="0"/>
            <a:ext cx="6858000" cy="13716000"/>
            <a:chOff x="17535986" y="0"/>
            <a:chExt cx="6858000" cy="13716000"/>
          </a:xfrm>
        </p:grpSpPr>
        <p:sp>
          <p:nvSpPr>
            <p:cNvPr id="7" name="bakgrunn">
              <a:extLst>
                <a:ext uri="{FF2B5EF4-FFF2-40B4-BE49-F238E27FC236}">
                  <a16:creationId xmlns:a16="http://schemas.microsoft.com/office/drawing/2014/main" id="{7B700173-06DB-46FE-9A3C-F181CDAE5143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rgbClr val="A0D2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orgrunn">
              <a:extLst>
                <a:ext uri="{FF2B5EF4-FFF2-40B4-BE49-F238E27FC236}">
                  <a16:creationId xmlns:a16="http://schemas.microsoft.com/office/drawing/2014/main" id="{C44EDABC-D226-4186-BC4A-2386F72CBF4A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rgbClr val="3C78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54453061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lys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sp>
        <p:nvSpPr>
          <p:cNvPr id="7" name="bakgrunn">
            <a:extLst>
              <a:ext uri="{FF2B5EF4-FFF2-40B4-BE49-F238E27FC236}">
                <a16:creationId xmlns:a16="http://schemas.microsoft.com/office/drawing/2014/main" id="{7B700173-06DB-46FE-9A3C-F181CDAE5143}"/>
              </a:ext>
            </a:extLst>
          </p:cNvPr>
          <p:cNvSpPr/>
          <p:nvPr/>
        </p:nvSpPr>
        <p:spPr>
          <a:xfrm>
            <a:off x="17524411" y="0"/>
            <a:ext cx="6858000" cy="13716000"/>
          </a:xfrm>
          <a:custGeom>
            <a:avLst/>
            <a:gdLst>
              <a:gd name="connsiteX0" fmla="*/ 0 w 6858000"/>
              <a:gd name="connsiteY0" fmla="*/ 0 h 13716000"/>
              <a:gd name="connsiteX1" fmla="*/ 6858000 w 6858000"/>
              <a:gd name="connsiteY1" fmla="*/ 0 h 13716000"/>
              <a:gd name="connsiteX2" fmla="*/ 6858000 w 6858000"/>
              <a:gd name="connsiteY2" fmla="*/ 13716000 h 13716000"/>
              <a:gd name="connsiteX3" fmla="*/ 0 w 68580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3716000">
                <a:moveTo>
                  <a:pt x="0" y="0"/>
                </a:moveTo>
                <a:lnTo>
                  <a:pt x="6858000" y="0"/>
                </a:lnTo>
                <a:lnTo>
                  <a:pt x="6858000" y="13716000"/>
                </a:lnTo>
                <a:lnTo>
                  <a:pt x="0" y="13716000"/>
                </a:lnTo>
                <a:close/>
              </a:path>
            </a:pathLst>
          </a:custGeom>
          <a:solidFill>
            <a:srgbClr val="A0D2B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pic>
        <p:nvPicPr>
          <p:cNvPr id="9" name="Bilde 8" descr="Et bilde som inneholder tekst, visittkort&#10;&#10;Automatisk generert beskrivelse">
            <a:extLst>
              <a:ext uri="{FF2B5EF4-FFF2-40B4-BE49-F238E27FC236}">
                <a16:creationId xmlns:a16="http://schemas.microsoft.com/office/drawing/2014/main" id="{3F53CC38-FFA2-4FD0-B8F1-8C6486579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6084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5"/>
            <a:ext cx="15379200" cy="117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12" name="Stående form 4">
            <a:extLst>
              <a:ext uri="{FF2B5EF4-FFF2-40B4-BE49-F238E27FC236}">
                <a16:creationId xmlns:a16="http://schemas.microsoft.com/office/drawing/2014/main" id="{601E0C09-C076-4453-A83C-5393AC103BFD}"/>
              </a:ext>
            </a:extLst>
          </p:cNvPr>
          <p:cNvGrpSpPr/>
          <p:nvPr/>
        </p:nvGrpSpPr>
        <p:grpSpPr>
          <a:xfrm>
            <a:off x="17524413" y="0"/>
            <a:ext cx="6857999" cy="13715998"/>
            <a:chOff x="17535985" y="0"/>
            <a:chExt cx="6857999" cy="13715998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627F9877-D20E-4648-A06B-41CD21727116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6857999 w 6857999"/>
                <a:gd name="connsiteY1" fmla="*/ 0 h 13715998"/>
                <a:gd name="connsiteX2" fmla="*/ 6857999 w 6857999"/>
                <a:gd name="connsiteY2" fmla="*/ 13715998 h 13715998"/>
                <a:gd name="connsiteX3" fmla="*/ 0 w 6857999"/>
                <a:gd name="connsiteY3" fmla="*/ 13715998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lnTo>
                    <a:pt x="6857999" y="0"/>
                  </a:lnTo>
                  <a:lnTo>
                    <a:pt x="6857999" y="13715998"/>
                  </a:lnTo>
                  <a:lnTo>
                    <a:pt x="0" y="13715998"/>
                  </a:lnTo>
                  <a:close/>
                </a:path>
              </a:pathLst>
            </a:custGeom>
            <a:solidFill>
              <a:schemeClr val="accent2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7C0BD930-8AD8-4529-A098-4F0356EDA06E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1371600 w 6857999"/>
                <a:gd name="connsiteY1" fmla="*/ 1371600 h 13715998"/>
                <a:gd name="connsiteX2" fmla="*/ 1371600 w 6857999"/>
                <a:gd name="connsiteY2" fmla="*/ 2743200 h 13715998"/>
                <a:gd name="connsiteX3" fmla="*/ 2057400 w 6857999"/>
                <a:gd name="connsiteY3" fmla="*/ 2743200 h 13715998"/>
                <a:gd name="connsiteX4" fmla="*/ 3429000 w 6857999"/>
                <a:gd name="connsiteY4" fmla="*/ 4114800 h 13715998"/>
                <a:gd name="connsiteX5" fmla="*/ 4800600 w 6857999"/>
                <a:gd name="connsiteY5" fmla="*/ 5486399 h 13715998"/>
                <a:gd name="connsiteX6" fmla="*/ 5486399 w 6857999"/>
                <a:gd name="connsiteY6" fmla="*/ 5486399 h 13715998"/>
                <a:gd name="connsiteX7" fmla="*/ 6857999 w 6857999"/>
                <a:gd name="connsiteY7" fmla="*/ 6857999 h 13715998"/>
                <a:gd name="connsiteX8" fmla="*/ 6857999 w 6857999"/>
                <a:gd name="connsiteY8" fmla="*/ 13715998 h 13715998"/>
                <a:gd name="connsiteX9" fmla="*/ 0 w 6857999"/>
                <a:gd name="connsiteY9" fmla="*/ 13715998 h 13715998"/>
                <a:gd name="connsiteX10" fmla="*/ 0 w 6857999"/>
                <a:gd name="connsiteY10" fmla="*/ 0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cubicBezTo>
                    <a:pt x="757514" y="0"/>
                    <a:pt x="1371600" y="614086"/>
                    <a:pt x="1371600" y="1371600"/>
                  </a:cubicBezTo>
                  <a:lnTo>
                    <a:pt x="1371600" y="2743200"/>
                  </a:lnTo>
                  <a:lnTo>
                    <a:pt x="2057400" y="2743200"/>
                  </a:lnTo>
                  <a:cubicBezTo>
                    <a:pt x="2814914" y="2743200"/>
                    <a:pt x="3429000" y="3357286"/>
                    <a:pt x="3429000" y="4114800"/>
                  </a:cubicBezTo>
                  <a:cubicBezTo>
                    <a:pt x="3429000" y="4872313"/>
                    <a:pt x="4043086" y="5486399"/>
                    <a:pt x="4800600" y="5486399"/>
                  </a:cubicBezTo>
                  <a:lnTo>
                    <a:pt x="5486399" y="5486399"/>
                  </a:lnTo>
                  <a:cubicBezTo>
                    <a:pt x="6243913" y="5486399"/>
                    <a:pt x="6857999" y="6100486"/>
                    <a:pt x="6857999" y="6857999"/>
                  </a:cubicBezTo>
                  <a:lnTo>
                    <a:pt x="6857999" y="13715998"/>
                  </a:lnTo>
                  <a:lnTo>
                    <a:pt x="0" y="137159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8" name="Linje to">
            <a:extLst>
              <a:ext uri="{FF2B5EF4-FFF2-40B4-BE49-F238E27FC236}">
                <a16:creationId xmlns:a16="http://schemas.microsoft.com/office/drawing/2014/main" id="{FACA3E44-2CCA-4289-9737-1C5B618694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</p:spTree>
    <p:extLst>
      <p:ext uri="{BB962C8B-B14F-4D97-AF65-F5344CB8AC3E}">
        <p14:creationId xmlns:p14="http://schemas.microsoft.com/office/powerpoint/2010/main" val="399719283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Stående form 5">
            <a:extLst>
              <a:ext uri="{FF2B5EF4-FFF2-40B4-BE49-F238E27FC236}">
                <a16:creationId xmlns:a16="http://schemas.microsoft.com/office/drawing/2014/main" id="{7CF8F35D-9353-41A1-B640-CF36302C9EE1}"/>
              </a:ext>
            </a:extLst>
          </p:cNvPr>
          <p:cNvGrpSpPr/>
          <p:nvPr userDrawn="1"/>
        </p:nvGrpSpPr>
        <p:grpSpPr>
          <a:xfrm>
            <a:off x="17524413" y="0"/>
            <a:ext cx="6858000" cy="13716000"/>
            <a:chOff x="17519650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D5DCE1B5-9345-4905-800A-576635B4B82C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6A9A4852-B4FC-41C6-BC42-67E1EB678D40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3429000 w 6858000"/>
                <a:gd name="connsiteY0" fmla="*/ 0 h 13716000"/>
                <a:gd name="connsiteX1" fmla="*/ 0 w 6858000"/>
                <a:gd name="connsiteY1" fmla="*/ 0 h 13716000"/>
                <a:gd name="connsiteX2" fmla="*/ 0 w 6858000"/>
                <a:gd name="connsiteY2" fmla="*/ 13716000 h 13716000"/>
                <a:gd name="connsiteX3" fmla="*/ 3429000 w 6858000"/>
                <a:gd name="connsiteY3" fmla="*/ 6858000 h 13716000"/>
                <a:gd name="connsiteX4" fmla="*/ 5486400 w 6858000"/>
                <a:gd name="connsiteY4" fmla="*/ 8229600 h 13716000"/>
                <a:gd name="connsiteX5" fmla="*/ 6858000 w 6858000"/>
                <a:gd name="connsiteY5" fmla="*/ 6858000 h 13716000"/>
                <a:gd name="connsiteX6" fmla="*/ 6692900 w 6858000"/>
                <a:gd name="connsiteY6" fmla="*/ 5596128 h 13716000"/>
                <a:gd name="connsiteX7" fmla="*/ 3429000 w 6858000"/>
                <a:gd name="connsiteY7" fmla="*/ 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13716000">
                  <a:moveTo>
                    <a:pt x="3429000" y="0"/>
                  </a:moveTo>
                  <a:lnTo>
                    <a:pt x="0" y="0"/>
                  </a:lnTo>
                  <a:lnTo>
                    <a:pt x="0" y="13716000"/>
                  </a:lnTo>
                  <a:cubicBezTo>
                    <a:pt x="2949575" y="13706729"/>
                    <a:pt x="3429000" y="8291069"/>
                    <a:pt x="3429000" y="6858000"/>
                  </a:cubicBezTo>
                  <a:cubicBezTo>
                    <a:pt x="3429000" y="7257034"/>
                    <a:pt x="4685157" y="8229600"/>
                    <a:pt x="5486400" y="8229600"/>
                  </a:cubicBezTo>
                  <a:cubicBezTo>
                    <a:pt x="6453505" y="8229600"/>
                    <a:pt x="6858000" y="7724521"/>
                    <a:pt x="6858000" y="6858000"/>
                  </a:cubicBezTo>
                  <a:cubicBezTo>
                    <a:pt x="6858000" y="6477000"/>
                    <a:pt x="6847332" y="6143244"/>
                    <a:pt x="6692900" y="5596128"/>
                  </a:cubicBezTo>
                  <a:cubicBezTo>
                    <a:pt x="6293739" y="4175633"/>
                    <a:pt x="3429000" y="0"/>
                    <a:pt x="3429000" y="0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959848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2C2B331-E123-47D9-82A3-F7FF3C021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48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2C2B331-E123-47D9-82A3-F7FF3C021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visittkort&#10;&#10;Automatisk generert beskrivelse">
            <a:extLst>
              <a:ext uri="{FF2B5EF4-FFF2-40B4-BE49-F238E27FC236}">
                <a16:creationId xmlns:a16="http://schemas.microsoft.com/office/drawing/2014/main" id="{870690A2-AE08-4C52-93EF-D83CFEF7F3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22536474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7DA1664-57A6-4C09-9BBF-0EBF03A6F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54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7DA1664-57A6-4C09-9BBF-0EBF03A6F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konvolutt, brevhode, visittkort&#10;&#10;Automatisk generert beskrivelse">
            <a:extLst>
              <a:ext uri="{FF2B5EF4-FFF2-40B4-BE49-F238E27FC236}">
                <a16:creationId xmlns:a16="http://schemas.microsoft.com/office/drawing/2014/main" id="{693834F5-AA7D-46E3-84BA-E6BD0E8D9E5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7680251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E538454-ABBE-4E79-9180-754D8E423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956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E538454-ABBE-4E79-9180-754D8E423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FE0C6858-18EF-4840-92F2-1026259A73C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4413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2437193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E322A45-E1C2-4800-8C07-826506E20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1556BE1-F2B6-4384-A8C7-FE0D14069E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D3C3078-9053-4060-AB13-3ADE16B8A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3C2E889-7DA0-4D98-88EA-F760D4740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A43352E-D299-49EB-9E80-BCC90809F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87198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+ Grafik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12" name="Stående form 6">
            <a:extLst>
              <a:ext uri="{FF2B5EF4-FFF2-40B4-BE49-F238E27FC236}">
                <a16:creationId xmlns:a16="http://schemas.microsoft.com/office/drawing/2014/main" id="{B4F0492E-516C-4E72-A987-D2592A10211E}"/>
              </a:ext>
            </a:extLst>
          </p:cNvPr>
          <p:cNvGrpSpPr/>
          <p:nvPr userDrawn="1"/>
        </p:nvGrpSpPr>
        <p:grpSpPr>
          <a:xfrm>
            <a:off x="17522924" y="0"/>
            <a:ext cx="6859488" cy="13718976"/>
            <a:chOff x="17522925" y="0"/>
            <a:chExt cx="6859488" cy="13718976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81F3C32A-73E8-4F9B-A044-BC273CB81A73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0 w 6859488"/>
                <a:gd name="connsiteY0" fmla="*/ 0 h 13718976"/>
                <a:gd name="connsiteX1" fmla="*/ 6859488 w 6859488"/>
                <a:gd name="connsiteY1" fmla="*/ 0 h 13718976"/>
                <a:gd name="connsiteX2" fmla="*/ 6859488 w 6859488"/>
                <a:gd name="connsiteY2" fmla="*/ 13718976 h 13718976"/>
                <a:gd name="connsiteX3" fmla="*/ 0 w 6859488"/>
                <a:gd name="connsiteY3" fmla="*/ 13718976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9488" h="13718976">
                  <a:moveTo>
                    <a:pt x="0" y="0"/>
                  </a:moveTo>
                  <a:lnTo>
                    <a:pt x="6859488" y="0"/>
                  </a:lnTo>
                  <a:lnTo>
                    <a:pt x="6859488" y="13718976"/>
                  </a:lnTo>
                  <a:lnTo>
                    <a:pt x="0" y="13718976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FDB1F66A-A870-4ED2-B5A6-D90FE45609E0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4100068 w 6859488"/>
                <a:gd name="connsiteY0" fmla="*/ 4822601 h 13718976"/>
                <a:gd name="connsiteX1" fmla="*/ 2107768 w 6859488"/>
                <a:gd name="connsiteY1" fmla="*/ 1371898 h 13718976"/>
                <a:gd name="connsiteX2" fmla="*/ 4484073 w 6859488"/>
                <a:gd name="connsiteY2" fmla="*/ 0 h 13718976"/>
                <a:gd name="connsiteX3" fmla="*/ 6476500 w 6859488"/>
                <a:gd name="connsiteY3" fmla="*/ 3451085 h 13718976"/>
                <a:gd name="connsiteX4" fmla="*/ 6859488 w 6859488"/>
                <a:gd name="connsiteY4" fmla="*/ 3429744 h 13718976"/>
                <a:gd name="connsiteX5" fmla="*/ 6859488 w 6859488"/>
                <a:gd name="connsiteY5" fmla="*/ 10289232 h 13718976"/>
                <a:gd name="connsiteX6" fmla="*/ 6473578 w 6859488"/>
                <a:gd name="connsiteY6" fmla="*/ 10267510 h 13718976"/>
                <a:gd name="connsiteX7" fmla="*/ 4480897 w 6859488"/>
                <a:gd name="connsiteY7" fmla="*/ 13718976 h 13718976"/>
                <a:gd name="connsiteX8" fmla="*/ 4480897 w 6859488"/>
                <a:gd name="connsiteY8" fmla="*/ 13718976 h 13718976"/>
                <a:gd name="connsiteX9" fmla="*/ 2104720 w 6859488"/>
                <a:gd name="connsiteY9" fmla="*/ 12347078 h 13718976"/>
                <a:gd name="connsiteX10" fmla="*/ 4098290 w 6859488"/>
                <a:gd name="connsiteY10" fmla="*/ 8893961 h 13718976"/>
                <a:gd name="connsiteX11" fmla="*/ 3715429 w 6859488"/>
                <a:gd name="connsiteY11" fmla="*/ 8231386 h 13718976"/>
                <a:gd name="connsiteX12" fmla="*/ 0 w 6859488"/>
                <a:gd name="connsiteY12" fmla="*/ 8231386 h 13718976"/>
                <a:gd name="connsiteX13" fmla="*/ 0 w 6859488"/>
                <a:gd name="connsiteY13" fmla="*/ 5487591 h 13718976"/>
                <a:gd name="connsiteX14" fmla="*/ 3715429 w 6859488"/>
                <a:gd name="connsiteY14" fmla="*/ 5487591 h 13718976"/>
                <a:gd name="connsiteX15" fmla="*/ 4100068 w 6859488"/>
                <a:gd name="connsiteY15" fmla="*/ 4822601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59488" h="13718976">
                  <a:moveTo>
                    <a:pt x="4100068" y="4822601"/>
                  </a:moveTo>
                  <a:lnTo>
                    <a:pt x="2107768" y="1371898"/>
                  </a:lnTo>
                  <a:lnTo>
                    <a:pt x="4484073" y="0"/>
                  </a:lnTo>
                  <a:lnTo>
                    <a:pt x="6476500" y="3451085"/>
                  </a:lnTo>
                  <a:cubicBezTo>
                    <a:pt x="6603668" y="3436908"/>
                    <a:pt x="6731533" y="3429782"/>
                    <a:pt x="6859488" y="3429744"/>
                  </a:cubicBezTo>
                  <a:lnTo>
                    <a:pt x="6859488" y="10289232"/>
                  </a:lnTo>
                  <a:cubicBezTo>
                    <a:pt x="6730543" y="10289194"/>
                    <a:pt x="6601711" y="10281941"/>
                    <a:pt x="6473578" y="10267510"/>
                  </a:cubicBezTo>
                  <a:lnTo>
                    <a:pt x="4480897" y="13718976"/>
                  </a:lnTo>
                  <a:lnTo>
                    <a:pt x="4480897" y="13718976"/>
                  </a:lnTo>
                  <a:lnTo>
                    <a:pt x="2104720" y="12347078"/>
                  </a:lnTo>
                  <a:lnTo>
                    <a:pt x="4098290" y="8893961"/>
                  </a:lnTo>
                  <a:cubicBezTo>
                    <a:pt x="3946302" y="8688113"/>
                    <a:pt x="3817877" y="8465866"/>
                    <a:pt x="3715429" y="8231386"/>
                  </a:cubicBezTo>
                  <a:lnTo>
                    <a:pt x="0" y="8231386"/>
                  </a:lnTo>
                  <a:lnTo>
                    <a:pt x="0" y="5487591"/>
                  </a:lnTo>
                  <a:lnTo>
                    <a:pt x="3715429" y="5487591"/>
                  </a:lnTo>
                  <a:cubicBezTo>
                    <a:pt x="3818271" y="5252196"/>
                    <a:pt x="3947305" y="5029123"/>
                    <a:pt x="4100068" y="4822601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7FF82F5F-E28D-4AF4-8B2D-24547E6CF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BEF7A0BB-70C8-4899-BEF5-B61009A36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81808-2113-44B7-933A-742A33F90FAD}" type="datetime1">
              <a:rPr lang="nb-NO" smtClean="0"/>
              <a:t>19.04.2026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4DEF32E5-EDBC-42C0-A899-F11A6C938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19D459CF-4735-47AB-A147-C5A7240FD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4574268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5497711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599"/>
            <a:ext cx="7028826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Plassholder for tekst 14">
            <a:extLst>
              <a:ext uri="{FF2B5EF4-FFF2-40B4-BE49-F238E27FC236}">
                <a16:creationId xmlns:a16="http://schemas.microsoft.com/office/drawing/2014/main" id="{E9230FA0-A588-4012-A4A2-42A4416B55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428243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C309F04-AB65-42BE-904A-B4B04507F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575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4" name="Plassholder for tekst 4">
            <a:extLst>
              <a:ext uri="{FF2B5EF4-FFF2-40B4-BE49-F238E27FC236}">
                <a16:creationId xmlns:a16="http://schemas.microsoft.com/office/drawing/2014/main" id="{38A5BCB3-DFBC-4BD9-86EF-50A0A9C4B4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04430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5540DAC1-EF9C-4A04-A299-46B10375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64575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DE5D03-D510-4404-BF4A-DF9538AF6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345" y="2559050"/>
            <a:ext cx="7028826" cy="1084482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Overskrift</a:t>
            </a:r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BF05A8D9-2000-4F21-99CC-3C2819C9458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24BB56F-AC29-4552-88E3-04F287ACEC84}" type="datetime1">
              <a:rPr lang="nb-NO" smtClean="0"/>
              <a:t>19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DE6D385-33F8-4D6E-AAB7-C45A9CE5E6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5" name="Plassholder for lysbildenummer 14">
            <a:extLst>
              <a:ext uri="{FF2B5EF4-FFF2-40B4-BE49-F238E27FC236}">
                <a16:creationId xmlns:a16="http://schemas.microsoft.com/office/drawing/2014/main" id="{016909E5-4E8C-4B2E-A9C1-EC5D83E58B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2376239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19827A-1CB1-42DB-87FB-BB4DF6CBE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559DBD45-109B-4229-B27A-5EAF78ADD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7BD4F-8F84-49E6-AB68-F9FF61417581}" type="datetime1">
              <a:rPr lang="nb-NO" smtClean="0"/>
              <a:t>19.04.2026</a:t>
            </a:fld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70FDC7D0-3B61-499D-BDB0-687F70935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786DEB58-9292-44E6-B0CA-421D12109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0172487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3F2E90-70AD-4B07-8844-9CC19EF61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CAB0-8215-4CFB-AF09-13536163ABEE}" type="datetime1">
              <a:rPr lang="nb-NO" smtClean="0"/>
              <a:t>19.04.2026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08A1AEDB-AD06-4AD1-8A68-4C55CEE5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95CC6AAF-62C3-4D78-8755-CAE05275E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626168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8" name="Liggende form 1">
            <a:extLst>
              <a:ext uri="{FF2B5EF4-FFF2-40B4-BE49-F238E27FC236}">
                <a16:creationId xmlns:a16="http://schemas.microsoft.com/office/drawing/2014/main" id="{A4707B15-42DA-4EFE-BB80-D19E7972D9FD}"/>
              </a:ext>
            </a:extLst>
          </p:cNvPr>
          <p:cNvGrpSpPr/>
          <p:nvPr/>
        </p:nvGrpSpPr>
        <p:grpSpPr>
          <a:xfrm>
            <a:off x="10669023" y="6859305"/>
            <a:ext cx="13713390" cy="6856695"/>
            <a:chOff x="10661652" y="6858000"/>
            <a:chExt cx="13713390" cy="6856695"/>
          </a:xfrm>
        </p:grpSpPr>
        <p:sp>
          <p:nvSpPr>
            <p:cNvPr id="10" name="bakgrunn">
              <a:extLst>
                <a:ext uri="{FF2B5EF4-FFF2-40B4-BE49-F238E27FC236}">
                  <a16:creationId xmlns:a16="http://schemas.microsoft.com/office/drawing/2014/main" id="{F8151C68-EF9E-42A3-81FF-F9942BF676DB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0 w 13713390"/>
                <a:gd name="connsiteY0" fmla="*/ 0 h 6856695"/>
                <a:gd name="connsiteX1" fmla="*/ 13713390 w 13713390"/>
                <a:gd name="connsiteY1" fmla="*/ 0 h 6856695"/>
                <a:gd name="connsiteX2" fmla="*/ 13713390 w 13713390"/>
                <a:gd name="connsiteY2" fmla="*/ 6856695 h 6856695"/>
                <a:gd name="connsiteX3" fmla="*/ 0 w 13713390"/>
                <a:gd name="connsiteY3" fmla="*/ 6856695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90" h="6856695">
                  <a:moveTo>
                    <a:pt x="0" y="0"/>
                  </a:moveTo>
                  <a:lnTo>
                    <a:pt x="13713390" y="0"/>
                  </a:lnTo>
                  <a:lnTo>
                    <a:pt x="13713390" y="6856695"/>
                  </a:lnTo>
                  <a:lnTo>
                    <a:pt x="0" y="6856695"/>
                  </a:lnTo>
                  <a:close/>
                </a:path>
              </a:pathLst>
            </a:custGeom>
            <a:solidFill>
              <a:schemeClr val="accent2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orgrunn">
              <a:extLst>
                <a:ext uri="{FF2B5EF4-FFF2-40B4-BE49-F238E27FC236}">
                  <a16:creationId xmlns:a16="http://schemas.microsoft.com/office/drawing/2014/main" id="{0D074997-3808-4F94-8E27-E4DEBC1BAD19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10285042 w 13713390"/>
                <a:gd name="connsiteY0" fmla="*/ 4199218 h 6856695"/>
                <a:gd name="connsiteX1" fmla="*/ 5485356 w 13713390"/>
                <a:gd name="connsiteY1" fmla="*/ 1371339 h 6856695"/>
                <a:gd name="connsiteX2" fmla="*/ 5485356 w 13713390"/>
                <a:gd name="connsiteY2" fmla="*/ 0 h 6856695"/>
                <a:gd name="connsiteX3" fmla="*/ 2742678 w 13713390"/>
                <a:gd name="connsiteY3" fmla="*/ 0 h 6856695"/>
                <a:gd name="connsiteX4" fmla="*/ 2742678 w 13713390"/>
                <a:gd name="connsiteY4" fmla="*/ 2105259 h 6856695"/>
                <a:gd name="connsiteX5" fmla="*/ 0 w 13713390"/>
                <a:gd name="connsiteY5" fmla="*/ 6856695 h 6856695"/>
                <a:gd name="connsiteX6" fmla="*/ 13713390 w 13713390"/>
                <a:gd name="connsiteY6" fmla="*/ 6856695 h 6856695"/>
                <a:gd name="connsiteX7" fmla="*/ 13713390 w 13713390"/>
                <a:gd name="connsiteY7" fmla="*/ 1544153 h 6856695"/>
                <a:gd name="connsiteX8" fmla="*/ 10285042 w 13713390"/>
                <a:gd name="connsiteY8" fmla="*/ 4199218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3390" h="6856695">
                  <a:moveTo>
                    <a:pt x="10285042" y="4199218"/>
                  </a:moveTo>
                  <a:cubicBezTo>
                    <a:pt x="9349358" y="2512852"/>
                    <a:pt x="7550745" y="1371339"/>
                    <a:pt x="5485356" y="1371339"/>
                  </a:cubicBezTo>
                  <a:lnTo>
                    <a:pt x="5485356" y="0"/>
                  </a:lnTo>
                  <a:lnTo>
                    <a:pt x="2742678" y="0"/>
                  </a:lnTo>
                  <a:lnTo>
                    <a:pt x="2742678" y="2105259"/>
                  </a:lnTo>
                  <a:cubicBezTo>
                    <a:pt x="1103166" y="3053769"/>
                    <a:pt x="0" y="4826352"/>
                    <a:pt x="0" y="6856695"/>
                  </a:cubicBezTo>
                  <a:lnTo>
                    <a:pt x="13713390" y="6856695"/>
                  </a:lnTo>
                  <a:lnTo>
                    <a:pt x="13713390" y="1544153"/>
                  </a:lnTo>
                  <a:cubicBezTo>
                    <a:pt x="12240470" y="1923430"/>
                    <a:pt x="11006265" y="2899493"/>
                    <a:pt x="10285042" y="4199218"/>
                  </a:cubicBezTo>
                  <a:close/>
                </a:path>
              </a:pathLst>
            </a:custGeom>
            <a:solidFill>
              <a:schemeClr val="accent3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</p:spTree>
    <p:extLst>
      <p:ext uri="{BB962C8B-B14F-4D97-AF65-F5344CB8AC3E}">
        <p14:creationId xmlns:p14="http://schemas.microsoft.com/office/powerpoint/2010/main" val="3801958806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0D4F1DEC-AF00-49F5-9A96-F11927F398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Liggende form 4">
            <a:extLst>
              <a:ext uri="{FF2B5EF4-FFF2-40B4-BE49-F238E27FC236}">
                <a16:creationId xmlns:a16="http://schemas.microsoft.com/office/drawing/2014/main" id="{FA70E6D1-4DD1-4767-AB07-BA580E4968DE}"/>
              </a:ext>
            </a:extLst>
          </p:cNvPr>
          <p:cNvGrpSpPr/>
          <p:nvPr userDrawn="1"/>
        </p:nvGrpSpPr>
        <p:grpSpPr>
          <a:xfrm>
            <a:off x="10669023" y="6859305"/>
            <a:ext cx="13713389" cy="6856694"/>
            <a:chOff x="10669024" y="6859305"/>
            <a:chExt cx="13713389" cy="6856694"/>
          </a:xfrm>
          <a:solidFill>
            <a:schemeClr val="accent1"/>
          </a:solidFill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C6E1F081-C55C-4716-9F22-89110EE07E73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0 w 13713389"/>
                <a:gd name="connsiteY0" fmla="*/ 0 h 6856694"/>
                <a:gd name="connsiteX1" fmla="*/ 13713389 w 13713389"/>
                <a:gd name="connsiteY1" fmla="*/ 0 h 6856694"/>
                <a:gd name="connsiteX2" fmla="*/ 13713389 w 13713389"/>
                <a:gd name="connsiteY2" fmla="*/ 6856694 h 6856694"/>
                <a:gd name="connsiteX3" fmla="*/ 0 w 13713389"/>
                <a:gd name="connsiteY3" fmla="*/ 6856694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89" h="6856694">
                  <a:moveTo>
                    <a:pt x="0" y="0"/>
                  </a:moveTo>
                  <a:lnTo>
                    <a:pt x="13713389" y="0"/>
                  </a:lnTo>
                  <a:lnTo>
                    <a:pt x="13713389" y="6856694"/>
                  </a:lnTo>
                  <a:lnTo>
                    <a:pt x="0" y="6856694"/>
                  </a:lnTo>
                  <a:close/>
                </a:path>
              </a:pathLst>
            </a:custGeom>
            <a:solidFill>
              <a:schemeClr val="accent1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5361AB24-13A1-454B-ABC1-5AC98B995654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4114017 w 13713389"/>
                <a:gd name="connsiteY0" fmla="*/ 1371339 h 6856694"/>
                <a:gd name="connsiteX1" fmla="*/ 4114017 w 13713389"/>
                <a:gd name="connsiteY1" fmla="*/ 2742678 h 6856694"/>
                <a:gd name="connsiteX2" fmla="*/ 3291214 w 13713389"/>
                <a:gd name="connsiteY2" fmla="*/ 2742678 h 6856694"/>
                <a:gd name="connsiteX3" fmla="*/ 2742678 w 13713389"/>
                <a:gd name="connsiteY3" fmla="*/ 3291213 h 6856694"/>
                <a:gd name="connsiteX4" fmla="*/ 2331276 w 13713389"/>
                <a:gd name="connsiteY4" fmla="*/ 5485355 h 6856694"/>
                <a:gd name="connsiteX5" fmla="*/ 0 w 13713389"/>
                <a:gd name="connsiteY5" fmla="*/ 5485355 h 6856694"/>
                <a:gd name="connsiteX6" fmla="*/ 0 w 13713389"/>
                <a:gd name="connsiteY6" fmla="*/ 6856694 h 6856694"/>
                <a:gd name="connsiteX7" fmla="*/ 13713389 w 13713389"/>
                <a:gd name="connsiteY7" fmla="*/ 6856694 h 6856694"/>
                <a:gd name="connsiteX8" fmla="*/ 13713389 w 13713389"/>
                <a:gd name="connsiteY8" fmla="*/ 5485355 h 6856694"/>
                <a:gd name="connsiteX9" fmla="*/ 11382113 w 13713389"/>
                <a:gd name="connsiteY9" fmla="*/ 5485355 h 6856694"/>
                <a:gd name="connsiteX10" fmla="*/ 10970711 w 13713389"/>
                <a:gd name="connsiteY10" fmla="*/ 3291213 h 6856694"/>
                <a:gd name="connsiteX11" fmla="*/ 10422175 w 13713389"/>
                <a:gd name="connsiteY11" fmla="*/ 2742678 h 6856694"/>
                <a:gd name="connsiteX12" fmla="*/ 9599372 w 13713389"/>
                <a:gd name="connsiteY12" fmla="*/ 2742678 h 6856694"/>
                <a:gd name="connsiteX13" fmla="*/ 9599372 w 13713389"/>
                <a:gd name="connsiteY13" fmla="*/ 1371339 h 6856694"/>
                <a:gd name="connsiteX14" fmla="*/ 8228034 w 13713389"/>
                <a:gd name="connsiteY14" fmla="*/ 0 h 6856694"/>
                <a:gd name="connsiteX15" fmla="*/ 5485356 w 13713389"/>
                <a:gd name="connsiteY15" fmla="*/ 0 h 6856694"/>
                <a:gd name="connsiteX16" fmla="*/ 4114017 w 13713389"/>
                <a:gd name="connsiteY16" fmla="*/ 1371339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713389" h="6856694">
                  <a:moveTo>
                    <a:pt x="4114017" y="1371339"/>
                  </a:moveTo>
                  <a:lnTo>
                    <a:pt x="4114017" y="2742678"/>
                  </a:lnTo>
                  <a:lnTo>
                    <a:pt x="3291214" y="2742678"/>
                  </a:lnTo>
                  <a:cubicBezTo>
                    <a:pt x="2950156" y="2742678"/>
                    <a:pt x="2790929" y="2953458"/>
                    <a:pt x="2742678" y="3291213"/>
                  </a:cubicBezTo>
                  <a:lnTo>
                    <a:pt x="2331276" y="5485355"/>
                  </a:lnTo>
                  <a:lnTo>
                    <a:pt x="0" y="5485355"/>
                  </a:lnTo>
                  <a:lnTo>
                    <a:pt x="0" y="6856694"/>
                  </a:lnTo>
                  <a:lnTo>
                    <a:pt x="13713389" y="6856694"/>
                  </a:lnTo>
                  <a:lnTo>
                    <a:pt x="13713389" y="5485355"/>
                  </a:lnTo>
                  <a:lnTo>
                    <a:pt x="11382113" y="5485355"/>
                  </a:lnTo>
                  <a:lnTo>
                    <a:pt x="10970711" y="3291213"/>
                  </a:lnTo>
                  <a:cubicBezTo>
                    <a:pt x="10920810" y="2955108"/>
                    <a:pt x="10761836" y="2742678"/>
                    <a:pt x="10422175" y="2742678"/>
                  </a:cubicBezTo>
                  <a:lnTo>
                    <a:pt x="9599372" y="2742678"/>
                  </a:lnTo>
                  <a:lnTo>
                    <a:pt x="9599372" y="1371339"/>
                  </a:lnTo>
                  <a:cubicBezTo>
                    <a:pt x="9599372" y="613969"/>
                    <a:pt x="8985403" y="0"/>
                    <a:pt x="8228034" y="0"/>
                  </a:cubicBezTo>
                  <a:lnTo>
                    <a:pt x="5485356" y="0"/>
                  </a:lnTo>
                  <a:cubicBezTo>
                    <a:pt x="4727986" y="0"/>
                    <a:pt x="4114017" y="613969"/>
                    <a:pt x="4114017" y="1371339"/>
                  </a:cubicBezTo>
                  <a:close/>
                </a:path>
              </a:pathLst>
            </a:custGeom>
            <a:solidFill>
              <a:schemeClr val="accent5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893481111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AD729CF4-7A00-401B-8990-F66A5AD157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Stående form 7">
            <a:extLst>
              <a:ext uri="{FF2B5EF4-FFF2-40B4-BE49-F238E27FC236}">
                <a16:creationId xmlns:a16="http://schemas.microsoft.com/office/drawing/2014/main" id="{0B100AB0-C6E9-4ACC-B698-908B03EB0E50}"/>
              </a:ext>
            </a:extLst>
          </p:cNvPr>
          <p:cNvGrpSpPr/>
          <p:nvPr userDrawn="1"/>
        </p:nvGrpSpPr>
        <p:grpSpPr>
          <a:xfrm rot="5400000">
            <a:off x="14095413" y="3429000"/>
            <a:ext cx="6858000" cy="13716000"/>
            <a:chOff x="17535986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9526D040-5D71-4075-A231-A9829EC5E261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B2053F79-A72B-4C26-86D2-37DCE52C407D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715007050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B0C8DC78-72E8-4A17-AEF7-1982FBFB4B3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skrive inn avslutn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5110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A433FB-6E3F-4D69-8483-09A36F578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64A716A5-F8C8-45A8-820A-92EF855ADE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5BE96FA-99F6-4BFF-8EC7-1EDDFF9F20C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B6A79C-81AB-4F4D-94CD-2C096867A4A1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4088F38-B4A4-4975-B8CF-DE892AA173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</p:spTree>
    <p:extLst>
      <p:ext uri="{BB962C8B-B14F-4D97-AF65-F5344CB8AC3E}">
        <p14:creationId xmlns:p14="http://schemas.microsoft.com/office/powerpoint/2010/main" val="503038079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F46E8BF-110E-4302-BA72-C520D829D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592" y="3419477"/>
            <a:ext cx="21029831" cy="5705474"/>
          </a:xfrm>
        </p:spPr>
        <p:txBody>
          <a:bodyPr anchor="b"/>
          <a:lstStyle>
            <a:lvl1pPr>
              <a:defRPr sz="119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B359187-74DF-4524-B8B5-33ABF932AE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592" y="9178927"/>
            <a:ext cx="21029831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2F1F52B-4E35-454B-BBE4-D4BCE3266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D0E5983-A443-4B59-ADF9-AF6F5ED79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83ABCC4-3C08-49AC-8C40-CE5DDDA67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83988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194417" y="573207"/>
            <a:ext cx="20115491" cy="2901514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4417" y="3692104"/>
            <a:ext cx="9874877" cy="1472564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4000" b="0" cap="all" baseline="0">
                <a:solidFill>
                  <a:schemeClr val="tx2"/>
                </a:solidFill>
              </a:defRPr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4417" y="5164668"/>
            <a:ext cx="9874877" cy="6756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435031" y="3692104"/>
            <a:ext cx="9874877" cy="1472564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4000" b="0" cap="all" baseline="0">
                <a:solidFill>
                  <a:schemeClr val="tx2"/>
                </a:solidFill>
              </a:defRPr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435031" y="5164668"/>
            <a:ext cx="9874877" cy="6756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BC39A1-26D0-4298-A680-DA61C26A415A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5A636-11A4-4139-A81B-6316DA08AB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45529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7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grpSp>
        <p:nvGrpSpPr>
          <p:cNvPr id="6" name="Stående form 7">
            <a:extLst>
              <a:ext uri="{FF2B5EF4-FFF2-40B4-BE49-F238E27FC236}">
                <a16:creationId xmlns:a16="http://schemas.microsoft.com/office/drawing/2014/main" id="{BD6836DC-10F4-4BDA-85FB-0AB85EDD5878}"/>
              </a:ext>
            </a:extLst>
          </p:cNvPr>
          <p:cNvGrpSpPr/>
          <p:nvPr/>
        </p:nvGrpSpPr>
        <p:grpSpPr>
          <a:xfrm>
            <a:off x="17524411" y="0"/>
            <a:ext cx="6858000" cy="13716000"/>
            <a:chOff x="17535986" y="0"/>
            <a:chExt cx="6858000" cy="13716000"/>
          </a:xfrm>
        </p:grpSpPr>
        <p:sp>
          <p:nvSpPr>
            <p:cNvPr id="7" name="bakgrunn">
              <a:extLst>
                <a:ext uri="{FF2B5EF4-FFF2-40B4-BE49-F238E27FC236}">
                  <a16:creationId xmlns:a16="http://schemas.microsoft.com/office/drawing/2014/main" id="{7B700173-06DB-46FE-9A3C-F181CDAE5143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rgbClr val="A0D2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orgrunn">
              <a:extLst>
                <a:ext uri="{FF2B5EF4-FFF2-40B4-BE49-F238E27FC236}">
                  <a16:creationId xmlns:a16="http://schemas.microsoft.com/office/drawing/2014/main" id="{C44EDABC-D226-4186-BC4A-2386F72CBF4A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rgbClr val="3C78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159192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5"/>
            <a:ext cx="15379200" cy="117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12" name="Stående form 4">
            <a:extLst>
              <a:ext uri="{FF2B5EF4-FFF2-40B4-BE49-F238E27FC236}">
                <a16:creationId xmlns:a16="http://schemas.microsoft.com/office/drawing/2014/main" id="{601E0C09-C076-4453-A83C-5393AC103BFD}"/>
              </a:ext>
            </a:extLst>
          </p:cNvPr>
          <p:cNvGrpSpPr/>
          <p:nvPr/>
        </p:nvGrpSpPr>
        <p:grpSpPr>
          <a:xfrm>
            <a:off x="17524413" y="0"/>
            <a:ext cx="6857999" cy="13715998"/>
            <a:chOff x="17535985" y="0"/>
            <a:chExt cx="6857999" cy="13715998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627F9877-D20E-4648-A06B-41CD21727116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6857999 w 6857999"/>
                <a:gd name="connsiteY1" fmla="*/ 0 h 13715998"/>
                <a:gd name="connsiteX2" fmla="*/ 6857999 w 6857999"/>
                <a:gd name="connsiteY2" fmla="*/ 13715998 h 13715998"/>
                <a:gd name="connsiteX3" fmla="*/ 0 w 6857999"/>
                <a:gd name="connsiteY3" fmla="*/ 13715998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lnTo>
                    <a:pt x="6857999" y="0"/>
                  </a:lnTo>
                  <a:lnTo>
                    <a:pt x="6857999" y="13715998"/>
                  </a:lnTo>
                  <a:lnTo>
                    <a:pt x="0" y="13715998"/>
                  </a:lnTo>
                  <a:close/>
                </a:path>
              </a:pathLst>
            </a:custGeom>
            <a:solidFill>
              <a:schemeClr val="accent2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7C0BD930-8AD8-4529-A098-4F0356EDA06E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1371600 w 6857999"/>
                <a:gd name="connsiteY1" fmla="*/ 1371600 h 13715998"/>
                <a:gd name="connsiteX2" fmla="*/ 1371600 w 6857999"/>
                <a:gd name="connsiteY2" fmla="*/ 2743200 h 13715998"/>
                <a:gd name="connsiteX3" fmla="*/ 2057400 w 6857999"/>
                <a:gd name="connsiteY3" fmla="*/ 2743200 h 13715998"/>
                <a:gd name="connsiteX4" fmla="*/ 3429000 w 6857999"/>
                <a:gd name="connsiteY4" fmla="*/ 4114800 h 13715998"/>
                <a:gd name="connsiteX5" fmla="*/ 4800600 w 6857999"/>
                <a:gd name="connsiteY5" fmla="*/ 5486399 h 13715998"/>
                <a:gd name="connsiteX6" fmla="*/ 5486399 w 6857999"/>
                <a:gd name="connsiteY6" fmla="*/ 5486399 h 13715998"/>
                <a:gd name="connsiteX7" fmla="*/ 6857999 w 6857999"/>
                <a:gd name="connsiteY7" fmla="*/ 6857999 h 13715998"/>
                <a:gd name="connsiteX8" fmla="*/ 6857999 w 6857999"/>
                <a:gd name="connsiteY8" fmla="*/ 13715998 h 13715998"/>
                <a:gd name="connsiteX9" fmla="*/ 0 w 6857999"/>
                <a:gd name="connsiteY9" fmla="*/ 13715998 h 13715998"/>
                <a:gd name="connsiteX10" fmla="*/ 0 w 6857999"/>
                <a:gd name="connsiteY10" fmla="*/ 0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cubicBezTo>
                    <a:pt x="757514" y="0"/>
                    <a:pt x="1371600" y="614086"/>
                    <a:pt x="1371600" y="1371600"/>
                  </a:cubicBezTo>
                  <a:lnTo>
                    <a:pt x="1371600" y="2743200"/>
                  </a:lnTo>
                  <a:lnTo>
                    <a:pt x="2057400" y="2743200"/>
                  </a:lnTo>
                  <a:cubicBezTo>
                    <a:pt x="2814914" y="2743200"/>
                    <a:pt x="3429000" y="3357286"/>
                    <a:pt x="3429000" y="4114800"/>
                  </a:cubicBezTo>
                  <a:cubicBezTo>
                    <a:pt x="3429000" y="4872313"/>
                    <a:pt x="4043086" y="5486399"/>
                    <a:pt x="4800600" y="5486399"/>
                  </a:cubicBezTo>
                  <a:lnTo>
                    <a:pt x="5486399" y="5486399"/>
                  </a:lnTo>
                  <a:cubicBezTo>
                    <a:pt x="6243913" y="5486399"/>
                    <a:pt x="6857999" y="6100486"/>
                    <a:pt x="6857999" y="6857999"/>
                  </a:cubicBezTo>
                  <a:lnTo>
                    <a:pt x="6857999" y="13715998"/>
                  </a:lnTo>
                  <a:lnTo>
                    <a:pt x="0" y="137159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8" name="Linje to">
            <a:extLst>
              <a:ext uri="{FF2B5EF4-FFF2-40B4-BE49-F238E27FC236}">
                <a16:creationId xmlns:a16="http://schemas.microsoft.com/office/drawing/2014/main" id="{FACA3E44-2CCA-4289-9737-1C5B618694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7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</p:spTree>
    <p:extLst>
      <p:ext uri="{BB962C8B-B14F-4D97-AF65-F5344CB8AC3E}">
        <p14:creationId xmlns:p14="http://schemas.microsoft.com/office/powerpoint/2010/main" val="3678445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Stående form 5">
            <a:extLst>
              <a:ext uri="{FF2B5EF4-FFF2-40B4-BE49-F238E27FC236}">
                <a16:creationId xmlns:a16="http://schemas.microsoft.com/office/drawing/2014/main" id="{7CF8F35D-9353-41A1-B640-CF36302C9EE1}"/>
              </a:ext>
            </a:extLst>
          </p:cNvPr>
          <p:cNvGrpSpPr/>
          <p:nvPr userDrawn="1"/>
        </p:nvGrpSpPr>
        <p:grpSpPr>
          <a:xfrm>
            <a:off x="17524413" y="0"/>
            <a:ext cx="6858000" cy="13716000"/>
            <a:chOff x="17519650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D5DCE1B5-9345-4905-800A-576635B4B82C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6A9A4852-B4FC-41C6-BC42-67E1EB678D40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3429000 w 6858000"/>
                <a:gd name="connsiteY0" fmla="*/ 0 h 13716000"/>
                <a:gd name="connsiteX1" fmla="*/ 0 w 6858000"/>
                <a:gd name="connsiteY1" fmla="*/ 0 h 13716000"/>
                <a:gd name="connsiteX2" fmla="*/ 0 w 6858000"/>
                <a:gd name="connsiteY2" fmla="*/ 13716000 h 13716000"/>
                <a:gd name="connsiteX3" fmla="*/ 3429000 w 6858000"/>
                <a:gd name="connsiteY3" fmla="*/ 6858000 h 13716000"/>
                <a:gd name="connsiteX4" fmla="*/ 5486400 w 6858000"/>
                <a:gd name="connsiteY4" fmla="*/ 8229600 h 13716000"/>
                <a:gd name="connsiteX5" fmla="*/ 6858000 w 6858000"/>
                <a:gd name="connsiteY5" fmla="*/ 6858000 h 13716000"/>
                <a:gd name="connsiteX6" fmla="*/ 6692900 w 6858000"/>
                <a:gd name="connsiteY6" fmla="*/ 5596128 h 13716000"/>
                <a:gd name="connsiteX7" fmla="*/ 3429000 w 6858000"/>
                <a:gd name="connsiteY7" fmla="*/ 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13716000">
                  <a:moveTo>
                    <a:pt x="3429000" y="0"/>
                  </a:moveTo>
                  <a:lnTo>
                    <a:pt x="0" y="0"/>
                  </a:lnTo>
                  <a:lnTo>
                    <a:pt x="0" y="13716000"/>
                  </a:lnTo>
                  <a:cubicBezTo>
                    <a:pt x="2949575" y="13706729"/>
                    <a:pt x="3429000" y="8291069"/>
                    <a:pt x="3429000" y="6858000"/>
                  </a:cubicBezTo>
                  <a:cubicBezTo>
                    <a:pt x="3429000" y="7257034"/>
                    <a:pt x="4685157" y="8229600"/>
                    <a:pt x="5486400" y="8229600"/>
                  </a:cubicBezTo>
                  <a:cubicBezTo>
                    <a:pt x="6453505" y="8229600"/>
                    <a:pt x="6858000" y="7724521"/>
                    <a:pt x="6858000" y="6858000"/>
                  </a:cubicBezTo>
                  <a:cubicBezTo>
                    <a:pt x="6858000" y="6477000"/>
                    <a:pt x="6847332" y="6143244"/>
                    <a:pt x="6692900" y="5596128"/>
                  </a:cubicBezTo>
                  <a:cubicBezTo>
                    <a:pt x="6293739" y="4175633"/>
                    <a:pt x="3429000" y="0"/>
                    <a:pt x="3429000" y="0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Økonomiplan og årsbudsjett 2022-2025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80792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 + Grafik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12" name="Stående form 6">
            <a:extLst>
              <a:ext uri="{FF2B5EF4-FFF2-40B4-BE49-F238E27FC236}">
                <a16:creationId xmlns:a16="http://schemas.microsoft.com/office/drawing/2014/main" id="{B4F0492E-516C-4E72-A987-D2592A10211E}"/>
              </a:ext>
            </a:extLst>
          </p:cNvPr>
          <p:cNvGrpSpPr/>
          <p:nvPr userDrawn="1"/>
        </p:nvGrpSpPr>
        <p:grpSpPr>
          <a:xfrm>
            <a:off x="17522924" y="0"/>
            <a:ext cx="6859488" cy="13718976"/>
            <a:chOff x="17522925" y="0"/>
            <a:chExt cx="6859488" cy="13718976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81F3C32A-73E8-4F9B-A044-BC273CB81A73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0 w 6859488"/>
                <a:gd name="connsiteY0" fmla="*/ 0 h 13718976"/>
                <a:gd name="connsiteX1" fmla="*/ 6859488 w 6859488"/>
                <a:gd name="connsiteY1" fmla="*/ 0 h 13718976"/>
                <a:gd name="connsiteX2" fmla="*/ 6859488 w 6859488"/>
                <a:gd name="connsiteY2" fmla="*/ 13718976 h 13718976"/>
                <a:gd name="connsiteX3" fmla="*/ 0 w 6859488"/>
                <a:gd name="connsiteY3" fmla="*/ 13718976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9488" h="13718976">
                  <a:moveTo>
                    <a:pt x="0" y="0"/>
                  </a:moveTo>
                  <a:lnTo>
                    <a:pt x="6859488" y="0"/>
                  </a:lnTo>
                  <a:lnTo>
                    <a:pt x="6859488" y="13718976"/>
                  </a:lnTo>
                  <a:lnTo>
                    <a:pt x="0" y="13718976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FDB1F66A-A870-4ED2-B5A6-D90FE45609E0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4100068 w 6859488"/>
                <a:gd name="connsiteY0" fmla="*/ 4822601 h 13718976"/>
                <a:gd name="connsiteX1" fmla="*/ 2107768 w 6859488"/>
                <a:gd name="connsiteY1" fmla="*/ 1371898 h 13718976"/>
                <a:gd name="connsiteX2" fmla="*/ 4484073 w 6859488"/>
                <a:gd name="connsiteY2" fmla="*/ 0 h 13718976"/>
                <a:gd name="connsiteX3" fmla="*/ 6476500 w 6859488"/>
                <a:gd name="connsiteY3" fmla="*/ 3451085 h 13718976"/>
                <a:gd name="connsiteX4" fmla="*/ 6859488 w 6859488"/>
                <a:gd name="connsiteY4" fmla="*/ 3429744 h 13718976"/>
                <a:gd name="connsiteX5" fmla="*/ 6859488 w 6859488"/>
                <a:gd name="connsiteY5" fmla="*/ 10289232 h 13718976"/>
                <a:gd name="connsiteX6" fmla="*/ 6473578 w 6859488"/>
                <a:gd name="connsiteY6" fmla="*/ 10267510 h 13718976"/>
                <a:gd name="connsiteX7" fmla="*/ 4480897 w 6859488"/>
                <a:gd name="connsiteY7" fmla="*/ 13718976 h 13718976"/>
                <a:gd name="connsiteX8" fmla="*/ 4480897 w 6859488"/>
                <a:gd name="connsiteY8" fmla="*/ 13718976 h 13718976"/>
                <a:gd name="connsiteX9" fmla="*/ 2104720 w 6859488"/>
                <a:gd name="connsiteY9" fmla="*/ 12347078 h 13718976"/>
                <a:gd name="connsiteX10" fmla="*/ 4098290 w 6859488"/>
                <a:gd name="connsiteY10" fmla="*/ 8893961 h 13718976"/>
                <a:gd name="connsiteX11" fmla="*/ 3715429 w 6859488"/>
                <a:gd name="connsiteY11" fmla="*/ 8231386 h 13718976"/>
                <a:gd name="connsiteX12" fmla="*/ 0 w 6859488"/>
                <a:gd name="connsiteY12" fmla="*/ 8231386 h 13718976"/>
                <a:gd name="connsiteX13" fmla="*/ 0 w 6859488"/>
                <a:gd name="connsiteY13" fmla="*/ 5487591 h 13718976"/>
                <a:gd name="connsiteX14" fmla="*/ 3715429 w 6859488"/>
                <a:gd name="connsiteY14" fmla="*/ 5487591 h 13718976"/>
                <a:gd name="connsiteX15" fmla="*/ 4100068 w 6859488"/>
                <a:gd name="connsiteY15" fmla="*/ 4822601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59488" h="13718976">
                  <a:moveTo>
                    <a:pt x="4100068" y="4822601"/>
                  </a:moveTo>
                  <a:lnTo>
                    <a:pt x="2107768" y="1371898"/>
                  </a:lnTo>
                  <a:lnTo>
                    <a:pt x="4484073" y="0"/>
                  </a:lnTo>
                  <a:lnTo>
                    <a:pt x="6476500" y="3451085"/>
                  </a:lnTo>
                  <a:cubicBezTo>
                    <a:pt x="6603668" y="3436908"/>
                    <a:pt x="6731533" y="3429782"/>
                    <a:pt x="6859488" y="3429744"/>
                  </a:cubicBezTo>
                  <a:lnTo>
                    <a:pt x="6859488" y="10289232"/>
                  </a:lnTo>
                  <a:cubicBezTo>
                    <a:pt x="6730543" y="10289194"/>
                    <a:pt x="6601711" y="10281941"/>
                    <a:pt x="6473578" y="10267510"/>
                  </a:cubicBezTo>
                  <a:lnTo>
                    <a:pt x="4480897" y="13718976"/>
                  </a:lnTo>
                  <a:lnTo>
                    <a:pt x="4480897" y="13718976"/>
                  </a:lnTo>
                  <a:lnTo>
                    <a:pt x="2104720" y="12347078"/>
                  </a:lnTo>
                  <a:lnTo>
                    <a:pt x="4098290" y="8893961"/>
                  </a:lnTo>
                  <a:cubicBezTo>
                    <a:pt x="3946302" y="8688113"/>
                    <a:pt x="3817877" y="8465866"/>
                    <a:pt x="3715429" y="8231386"/>
                  </a:cubicBezTo>
                  <a:lnTo>
                    <a:pt x="0" y="8231386"/>
                  </a:lnTo>
                  <a:lnTo>
                    <a:pt x="0" y="5487591"/>
                  </a:lnTo>
                  <a:lnTo>
                    <a:pt x="3715429" y="5487591"/>
                  </a:lnTo>
                  <a:cubicBezTo>
                    <a:pt x="3818271" y="5252196"/>
                    <a:pt x="3947305" y="5029123"/>
                    <a:pt x="4100068" y="4822601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7FF82F5F-E28D-4AF4-8B2D-24547E6CF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BEF7A0BB-70C8-4899-BEF5-B61009A36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4DEF32E5-EDBC-42C0-A899-F11A6C938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Økonomiplan og årsbudsjett 2022-2025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19D459CF-4735-47AB-A147-C5A7240FD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46592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Økonomiplan og årsbudsjett 2022-2025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24684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599"/>
            <a:ext cx="7028826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Plassholder for tekst 14">
            <a:extLst>
              <a:ext uri="{FF2B5EF4-FFF2-40B4-BE49-F238E27FC236}">
                <a16:creationId xmlns:a16="http://schemas.microsoft.com/office/drawing/2014/main" id="{E9230FA0-A588-4012-A4A2-42A4416B55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428243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C309F04-AB65-42BE-904A-B4B04507F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575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4" name="Plassholder for tekst 4">
            <a:extLst>
              <a:ext uri="{FF2B5EF4-FFF2-40B4-BE49-F238E27FC236}">
                <a16:creationId xmlns:a16="http://schemas.microsoft.com/office/drawing/2014/main" id="{38A5BCB3-DFBC-4BD9-86EF-50A0A9C4B4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04430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5540DAC1-EF9C-4A04-A299-46B10375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64575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DE5D03-D510-4404-BF4A-DF9538AF6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345" y="2559050"/>
            <a:ext cx="7028826" cy="1084482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Overskrift</a:t>
            </a:r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BF05A8D9-2000-4F21-99CC-3C2819C9458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DE6D385-33F8-4D6E-AAB7-C45A9CE5E6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Økonomiplan og årsbudsjett 2022-2025</a:t>
            </a:r>
          </a:p>
        </p:txBody>
      </p:sp>
      <p:sp>
        <p:nvSpPr>
          <p:cNvPr id="15" name="Plassholder for lysbildenummer 14">
            <a:extLst>
              <a:ext uri="{FF2B5EF4-FFF2-40B4-BE49-F238E27FC236}">
                <a16:creationId xmlns:a16="http://schemas.microsoft.com/office/drawing/2014/main" id="{016909E5-4E8C-4B2E-A9C1-EC5D83E58B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71838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19827A-1CB1-42DB-87FB-BB4DF6CBE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559DBD45-109B-4229-B27A-5EAF78ADD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70FDC7D0-3B61-499D-BDB0-687F70935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Økonomiplan og årsbudsjett 2022-2025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786DEB58-9292-44E6-B0CA-421D12109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42539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3F2E90-70AD-4B07-8844-9CC19EF61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08A1AEDB-AD06-4AD1-8A68-4C55CEE5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Økonomiplan og årsbudsjett 2022-2025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95CC6AAF-62C3-4D78-8755-CAE05275E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51693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8" name="Liggende form 1">
            <a:extLst>
              <a:ext uri="{FF2B5EF4-FFF2-40B4-BE49-F238E27FC236}">
                <a16:creationId xmlns:a16="http://schemas.microsoft.com/office/drawing/2014/main" id="{A4707B15-42DA-4EFE-BB80-D19E7972D9FD}"/>
              </a:ext>
            </a:extLst>
          </p:cNvPr>
          <p:cNvGrpSpPr/>
          <p:nvPr/>
        </p:nvGrpSpPr>
        <p:grpSpPr>
          <a:xfrm>
            <a:off x="10669023" y="6859305"/>
            <a:ext cx="13713390" cy="6856695"/>
            <a:chOff x="10661652" y="6858000"/>
            <a:chExt cx="13713390" cy="6856695"/>
          </a:xfrm>
        </p:grpSpPr>
        <p:sp>
          <p:nvSpPr>
            <p:cNvPr id="10" name="bakgrunn">
              <a:extLst>
                <a:ext uri="{FF2B5EF4-FFF2-40B4-BE49-F238E27FC236}">
                  <a16:creationId xmlns:a16="http://schemas.microsoft.com/office/drawing/2014/main" id="{F8151C68-EF9E-42A3-81FF-F9942BF676DB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0 w 13713390"/>
                <a:gd name="connsiteY0" fmla="*/ 0 h 6856695"/>
                <a:gd name="connsiteX1" fmla="*/ 13713390 w 13713390"/>
                <a:gd name="connsiteY1" fmla="*/ 0 h 6856695"/>
                <a:gd name="connsiteX2" fmla="*/ 13713390 w 13713390"/>
                <a:gd name="connsiteY2" fmla="*/ 6856695 h 6856695"/>
                <a:gd name="connsiteX3" fmla="*/ 0 w 13713390"/>
                <a:gd name="connsiteY3" fmla="*/ 6856695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90" h="6856695">
                  <a:moveTo>
                    <a:pt x="0" y="0"/>
                  </a:moveTo>
                  <a:lnTo>
                    <a:pt x="13713390" y="0"/>
                  </a:lnTo>
                  <a:lnTo>
                    <a:pt x="13713390" y="6856695"/>
                  </a:lnTo>
                  <a:lnTo>
                    <a:pt x="0" y="6856695"/>
                  </a:lnTo>
                  <a:close/>
                </a:path>
              </a:pathLst>
            </a:custGeom>
            <a:solidFill>
              <a:schemeClr val="accent2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orgrunn">
              <a:extLst>
                <a:ext uri="{FF2B5EF4-FFF2-40B4-BE49-F238E27FC236}">
                  <a16:creationId xmlns:a16="http://schemas.microsoft.com/office/drawing/2014/main" id="{0D074997-3808-4F94-8E27-E4DEBC1BAD19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10285042 w 13713390"/>
                <a:gd name="connsiteY0" fmla="*/ 4199218 h 6856695"/>
                <a:gd name="connsiteX1" fmla="*/ 5485356 w 13713390"/>
                <a:gd name="connsiteY1" fmla="*/ 1371339 h 6856695"/>
                <a:gd name="connsiteX2" fmla="*/ 5485356 w 13713390"/>
                <a:gd name="connsiteY2" fmla="*/ 0 h 6856695"/>
                <a:gd name="connsiteX3" fmla="*/ 2742678 w 13713390"/>
                <a:gd name="connsiteY3" fmla="*/ 0 h 6856695"/>
                <a:gd name="connsiteX4" fmla="*/ 2742678 w 13713390"/>
                <a:gd name="connsiteY4" fmla="*/ 2105259 h 6856695"/>
                <a:gd name="connsiteX5" fmla="*/ 0 w 13713390"/>
                <a:gd name="connsiteY5" fmla="*/ 6856695 h 6856695"/>
                <a:gd name="connsiteX6" fmla="*/ 13713390 w 13713390"/>
                <a:gd name="connsiteY6" fmla="*/ 6856695 h 6856695"/>
                <a:gd name="connsiteX7" fmla="*/ 13713390 w 13713390"/>
                <a:gd name="connsiteY7" fmla="*/ 1544153 h 6856695"/>
                <a:gd name="connsiteX8" fmla="*/ 10285042 w 13713390"/>
                <a:gd name="connsiteY8" fmla="*/ 4199218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3390" h="6856695">
                  <a:moveTo>
                    <a:pt x="10285042" y="4199218"/>
                  </a:moveTo>
                  <a:cubicBezTo>
                    <a:pt x="9349358" y="2512852"/>
                    <a:pt x="7550745" y="1371339"/>
                    <a:pt x="5485356" y="1371339"/>
                  </a:cubicBezTo>
                  <a:lnTo>
                    <a:pt x="5485356" y="0"/>
                  </a:lnTo>
                  <a:lnTo>
                    <a:pt x="2742678" y="0"/>
                  </a:lnTo>
                  <a:lnTo>
                    <a:pt x="2742678" y="2105259"/>
                  </a:lnTo>
                  <a:cubicBezTo>
                    <a:pt x="1103166" y="3053769"/>
                    <a:pt x="0" y="4826352"/>
                    <a:pt x="0" y="6856695"/>
                  </a:cubicBezTo>
                  <a:lnTo>
                    <a:pt x="13713390" y="6856695"/>
                  </a:lnTo>
                  <a:lnTo>
                    <a:pt x="13713390" y="1544153"/>
                  </a:lnTo>
                  <a:cubicBezTo>
                    <a:pt x="12240470" y="1923430"/>
                    <a:pt x="11006265" y="2899493"/>
                    <a:pt x="10285042" y="4199218"/>
                  </a:cubicBezTo>
                  <a:close/>
                </a:path>
              </a:pathLst>
            </a:custGeom>
            <a:solidFill>
              <a:schemeClr val="accent3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</p:spTree>
    <p:extLst>
      <p:ext uri="{BB962C8B-B14F-4D97-AF65-F5344CB8AC3E}">
        <p14:creationId xmlns:p14="http://schemas.microsoft.com/office/powerpoint/2010/main" val="1514255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549CD4C-09AE-49D6-AF86-C6BAC6D53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D0935C-D3AE-4A17-8C4C-476860DE3A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291" y="3651250"/>
            <a:ext cx="10362526" cy="870267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3E740CD-76ED-4AFB-895D-900476721E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3596" y="3651250"/>
            <a:ext cx="10362526" cy="870267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6E7ACD8-8718-4503-9B57-49B2227D4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7DEC3C5-45D8-418E-8817-B3299F7E5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56E53FC-DB0F-4854-9274-260E6D5C4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00905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0D4F1DEC-AF00-49F5-9A96-F11927F398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Liggende form 4">
            <a:extLst>
              <a:ext uri="{FF2B5EF4-FFF2-40B4-BE49-F238E27FC236}">
                <a16:creationId xmlns:a16="http://schemas.microsoft.com/office/drawing/2014/main" id="{FA70E6D1-4DD1-4767-AB07-BA580E4968DE}"/>
              </a:ext>
            </a:extLst>
          </p:cNvPr>
          <p:cNvGrpSpPr/>
          <p:nvPr userDrawn="1"/>
        </p:nvGrpSpPr>
        <p:grpSpPr>
          <a:xfrm>
            <a:off x="10669023" y="6859305"/>
            <a:ext cx="13713389" cy="6856694"/>
            <a:chOff x="10669024" y="6859305"/>
            <a:chExt cx="13713389" cy="6856694"/>
          </a:xfrm>
          <a:solidFill>
            <a:schemeClr val="accent1"/>
          </a:solidFill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C6E1F081-C55C-4716-9F22-89110EE07E73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0 w 13713389"/>
                <a:gd name="connsiteY0" fmla="*/ 0 h 6856694"/>
                <a:gd name="connsiteX1" fmla="*/ 13713389 w 13713389"/>
                <a:gd name="connsiteY1" fmla="*/ 0 h 6856694"/>
                <a:gd name="connsiteX2" fmla="*/ 13713389 w 13713389"/>
                <a:gd name="connsiteY2" fmla="*/ 6856694 h 6856694"/>
                <a:gd name="connsiteX3" fmla="*/ 0 w 13713389"/>
                <a:gd name="connsiteY3" fmla="*/ 6856694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89" h="6856694">
                  <a:moveTo>
                    <a:pt x="0" y="0"/>
                  </a:moveTo>
                  <a:lnTo>
                    <a:pt x="13713389" y="0"/>
                  </a:lnTo>
                  <a:lnTo>
                    <a:pt x="13713389" y="6856694"/>
                  </a:lnTo>
                  <a:lnTo>
                    <a:pt x="0" y="6856694"/>
                  </a:lnTo>
                  <a:close/>
                </a:path>
              </a:pathLst>
            </a:custGeom>
            <a:solidFill>
              <a:schemeClr val="accent1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5361AB24-13A1-454B-ABC1-5AC98B995654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4114017 w 13713389"/>
                <a:gd name="connsiteY0" fmla="*/ 1371339 h 6856694"/>
                <a:gd name="connsiteX1" fmla="*/ 4114017 w 13713389"/>
                <a:gd name="connsiteY1" fmla="*/ 2742678 h 6856694"/>
                <a:gd name="connsiteX2" fmla="*/ 3291214 w 13713389"/>
                <a:gd name="connsiteY2" fmla="*/ 2742678 h 6856694"/>
                <a:gd name="connsiteX3" fmla="*/ 2742678 w 13713389"/>
                <a:gd name="connsiteY3" fmla="*/ 3291213 h 6856694"/>
                <a:gd name="connsiteX4" fmla="*/ 2331276 w 13713389"/>
                <a:gd name="connsiteY4" fmla="*/ 5485355 h 6856694"/>
                <a:gd name="connsiteX5" fmla="*/ 0 w 13713389"/>
                <a:gd name="connsiteY5" fmla="*/ 5485355 h 6856694"/>
                <a:gd name="connsiteX6" fmla="*/ 0 w 13713389"/>
                <a:gd name="connsiteY6" fmla="*/ 6856694 h 6856694"/>
                <a:gd name="connsiteX7" fmla="*/ 13713389 w 13713389"/>
                <a:gd name="connsiteY7" fmla="*/ 6856694 h 6856694"/>
                <a:gd name="connsiteX8" fmla="*/ 13713389 w 13713389"/>
                <a:gd name="connsiteY8" fmla="*/ 5485355 h 6856694"/>
                <a:gd name="connsiteX9" fmla="*/ 11382113 w 13713389"/>
                <a:gd name="connsiteY9" fmla="*/ 5485355 h 6856694"/>
                <a:gd name="connsiteX10" fmla="*/ 10970711 w 13713389"/>
                <a:gd name="connsiteY10" fmla="*/ 3291213 h 6856694"/>
                <a:gd name="connsiteX11" fmla="*/ 10422175 w 13713389"/>
                <a:gd name="connsiteY11" fmla="*/ 2742678 h 6856694"/>
                <a:gd name="connsiteX12" fmla="*/ 9599372 w 13713389"/>
                <a:gd name="connsiteY12" fmla="*/ 2742678 h 6856694"/>
                <a:gd name="connsiteX13" fmla="*/ 9599372 w 13713389"/>
                <a:gd name="connsiteY13" fmla="*/ 1371339 h 6856694"/>
                <a:gd name="connsiteX14" fmla="*/ 8228034 w 13713389"/>
                <a:gd name="connsiteY14" fmla="*/ 0 h 6856694"/>
                <a:gd name="connsiteX15" fmla="*/ 5485356 w 13713389"/>
                <a:gd name="connsiteY15" fmla="*/ 0 h 6856694"/>
                <a:gd name="connsiteX16" fmla="*/ 4114017 w 13713389"/>
                <a:gd name="connsiteY16" fmla="*/ 1371339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713389" h="6856694">
                  <a:moveTo>
                    <a:pt x="4114017" y="1371339"/>
                  </a:moveTo>
                  <a:lnTo>
                    <a:pt x="4114017" y="2742678"/>
                  </a:lnTo>
                  <a:lnTo>
                    <a:pt x="3291214" y="2742678"/>
                  </a:lnTo>
                  <a:cubicBezTo>
                    <a:pt x="2950156" y="2742678"/>
                    <a:pt x="2790929" y="2953458"/>
                    <a:pt x="2742678" y="3291213"/>
                  </a:cubicBezTo>
                  <a:lnTo>
                    <a:pt x="2331276" y="5485355"/>
                  </a:lnTo>
                  <a:lnTo>
                    <a:pt x="0" y="5485355"/>
                  </a:lnTo>
                  <a:lnTo>
                    <a:pt x="0" y="6856694"/>
                  </a:lnTo>
                  <a:lnTo>
                    <a:pt x="13713389" y="6856694"/>
                  </a:lnTo>
                  <a:lnTo>
                    <a:pt x="13713389" y="5485355"/>
                  </a:lnTo>
                  <a:lnTo>
                    <a:pt x="11382113" y="5485355"/>
                  </a:lnTo>
                  <a:lnTo>
                    <a:pt x="10970711" y="3291213"/>
                  </a:lnTo>
                  <a:cubicBezTo>
                    <a:pt x="10920810" y="2955108"/>
                    <a:pt x="10761836" y="2742678"/>
                    <a:pt x="10422175" y="2742678"/>
                  </a:cubicBezTo>
                  <a:lnTo>
                    <a:pt x="9599372" y="2742678"/>
                  </a:lnTo>
                  <a:lnTo>
                    <a:pt x="9599372" y="1371339"/>
                  </a:lnTo>
                  <a:cubicBezTo>
                    <a:pt x="9599372" y="613969"/>
                    <a:pt x="8985403" y="0"/>
                    <a:pt x="8228034" y="0"/>
                  </a:cubicBezTo>
                  <a:lnTo>
                    <a:pt x="5485356" y="0"/>
                  </a:lnTo>
                  <a:cubicBezTo>
                    <a:pt x="4727986" y="0"/>
                    <a:pt x="4114017" y="613969"/>
                    <a:pt x="4114017" y="1371339"/>
                  </a:cubicBezTo>
                  <a:close/>
                </a:path>
              </a:pathLst>
            </a:custGeom>
            <a:solidFill>
              <a:schemeClr val="accent5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5559448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ide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AD729CF4-7A00-401B-8990-F66A5AD157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Stående form 7">
            <a:extLst>
              <a:ext uri="{FF2B5EF4-FFF2-40B4-BE49-F238E27FC236}">
                <a16:creationId xmlns:a16="http://schemas.microsoft.com/office/drawing/2014/main" id="{0B100AB0-C6E9-4ACC-B698-908B03EB0E50}"/>
              </a:ext>
            </a:extLst>
          </p:cNvPr>
          <p:cNvGrpSpPr/>
          <p:nvPr userDrawn="1"/>
        </p:nvGrpSpPr>
        <p:grpSpPr>
          <a:xfrm rot="5400000">
            <a:off x="14095413" y="3429000"/>
            <a:ext cx="6858000" cy="13716000"/>
            <a:chOff x="17535986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9526D040-5D71-4075-A231-A9829EC5E261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B2053F79-A72B-4C26-86D2-37DCE52C407D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2187737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lut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B0C8DC78-72E8-4A17-AEF7-1982FBFB4B3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skrive inn avslutn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697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03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Stående form 5">
            <a:extLst>
              <a:ext uri="{FF2B5EF4-FFF2-40B4-BE49-F238E27FC236}">
                <a16:creationId xmlns:a16="http://schemas.microsoft.com/office/drawing/2014/main" id="{7CF8F35D-9353-41A1-B640-CF36302C9EE1}"/>
              </a:ext>
            </a:extLst>
          </p:cNvPr>
          <p:cNvGrpSpPr/>
          <p:nvPr userDrawn="1"/>
        </p:nvGrpSpPr>
        <p:grpSpPr>
          <a:xfrm>
            <a:off x="17524413" y="0"/>
            <a:ext cx="6858000" cy="13716000"/>
            <a:chOff x="17519650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D5DCE1B5-9345-4905-800A-576635B4B82C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6A9A4852-B4FC-41C6-BC42-67E1EB678D40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3429000 w 6858000"/>
                <a:gd name="connsiteY0" fmla="*/ 0 h 13716000"/>
                <a:gd name="connsiteX1" fmla="*/ 0 w 6858000"/>
                <a:gd name="connsiteY1" fmla="*/ 0 h 13716000"/>
                <a:gd name="connsiteX2" fmla="*/ 0 w 6858000"/>
                <a:gd name="connsiteY2" fmla="*/ 13716000 h 13716000"/>
                <a:gd name="connsiteX3" fmla="*/ 3429000 w 6858000"/>
                <a:gd name="connsiteY3" fmla="*/ 6858000 h 13716000"/>
                <a:gd name="connsiteX4" fmla="*/ 5486400 w 6858000"/>
                <a:gd name="connsiteY4" fmla="*/ 8229600 h 13716000"/>
                <a:gd name="connsiteX5" fmla="*/ 6858000 w 6858000"/>
                <a:gd name="connsiteY5" fmla="*/ 6858000 h 13716000"/>
                <a:gd name="connsiteX6" fmla="*/ 6692900 w 6858000"/>
                <a:gd name="connsiteY6" fmla="*/ 5596128 h 13716000"/>
                <a:gd name="connsiteX7" fmla="*/ 3429000 w 6858000"/>
                <a:gd name="connsiteY7" fmla="*/ 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13716000">
                  <a:moveTo>
                    <a:pt x="3429000" y="0"/>
                  </a:moveTo>
                  <a:lnTo>
                    <a:pt x="0" y="0"/>
                  </a:lnTo>
                  <a:lnTo>
                    <a:pt x="0" y="13716000"/>
                  </a:lnTo>
                  <a:cubicBezTo>
                    <a:pt x="2949575" y="13706729"/>
                    <a:pt x="3429000" y="8291069"/>
                    <a:pt x="3429000" y="6858000"/>
                  </a:cubicBezTo>
                  <a:cubicBezTo>
                    <a:pt x="3429000" y="7257034"/>
                    <a:pt x="4685157" y="8229600"/>
                    <a:pt x="5486400" y="8229600"/>
                  </a:cubicBezTo>
                  <a:cubicBezTo>
                    <a:pt x="6453505" y="8229600"/>
                    <a:pt x="6858000" y="7724521"/>
                    <a:pt x="6858000" y="6858000"/>
                  </a:cubicBezTo>
                  <a:cubicBezTo>
                    <a:pt x="6858000" y="6477000"/>
                    <a:pt x="6847332" y="6143244"/>
                    <a:pt x="6692900" y="5596128"/>
                  </a:cubicBezTo>
                  <a:cubicBezTo>
                    <a:pt x="6293739" y="4175633"/>
                    <a:pt x="3429000" y="0"/>
                    <a:pt x="3429000" y="0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 endres på fanen Sett inn &gt; Topptekst/bunntekst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7408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 + Grafik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12" name="Stående form 6">
            <a:extLst>
              <a:ext uri="{FF2B5EF4-FFF2-40B4-BE49-F238E27FC236}">
                <a16:creationId xmlns:a16="http://schemas.microsoft.com/office/drawing/2014/main" id="{B4F0492E-516C-4E72-A987-D2592A10211E}"/>
              </a:ext>
            </a:extLst>
          </p:cNvPr>
          <p:cNvGrpSpPr/>
          <p:nvPr userDrawn="1"/>
        </p:nvGrpSpPr>
        <p:grpSpPr>
          <a:xfrm>
            <a:off x="17522924" y="0"/>
            <a:ext cx="6859488" cy="13718976"/>
            <a:chOff x="17522925" y="0"/>
            <a:chExt cx="6859488" cy="13718976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81F3C32A-73E8-4F9B-A044-BC273CB81A73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0 w 6859488"/>
                <a:gd name="connsiteY0" fmla="*/ 0 h 13718976"/>
                <a:gd name="connsiteX1" fmla="*/ 6859488 w 6859488"/>
                <a:gd name="connsiteY1" fmla="*/ 0 h 13718976"/>
                <a:gd name="connsiteX2" fmla="*/ 6859488 w 6859488"/>
                <a:gd name="connsiteY2" fmla="*/ 13718976 h 13718976"/>
                <a:gd name="connsiteX3" fmla="*/ 0 w 6859488"/>
                <a:gd name="connsiteY3" fmla="*/ 13718976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9488" h="13718976">
                  <a:moveTo>
                    <a:pt x="0" y="0"/>
                  </a:moveTo>
                  <a:lnTo>
                    <a:pt x="6859488" y="0"/>
                  </a:lnTo>
                  <a:lnTo>
                    <a:pt x="6859488" y="13718976"/>
                  </a:lnTo>
                  <a:lnTo>
                    <a:pt x="0" y="13718976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FDB1F66A-A870-4ED2-B5A6-D90FE45609E0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4100068 w 6859488"/>
                <a:gd name="connsiteY0" fmla="*/ 4822601 h 13718976"/>
                <a:gd name="connsiteX1" fmla="*/ 2107768 w 6859488"/>
                <a:gd name="connsiteY1" fmla="*/ 1371898 h 13718976"/>
                <a:gd name="connsiteX2" fmla="*/ 4484073 w 6859488"/>
                <a:gd name="connsiteY2" fmla="*/ 0 h 13718976"/>
                <a:gd name="connsiteX3" fmla="*/ 6476500 w 6859488"/>
                <a:gd name="connsiteY3" fmla="*/ 3451085 h 13718976"/>
                <a:gd name="connsiteX4" fmla="*/ 6859488 w 6859488"/>
                <a:gd name="connsiteY4" fmla="*/ 3429744 h 13718976"/>
                <a:gd name="connsiteX5" fmla="*/ 6859488 w 6859488"/>
                <a:gd name="connsiteY5" fmla="*/ 10289232 h 13718976"/>
                <a:gd name="connsiteX6" fmla="*/ 6473578 w 6859488"/>
                <a:gd name="connsiteY6" fmla="*/ 10267510 h 13718976"/>
                <a:gd name="connsiteX7" fmla="*/ 4480897 w 6859488"/>
                <a:gd name="connsiteY7" fmla="*/ 13718976 h 13718976"/>
                <a:gd name="connsiteX8" fmla="*/ 4480897 w 6859488"/>
                <a:gd name="connsiteY8" fmla="*/ 13718976 h 13718976"/>
                <a:gd name="connsiteX9" fmla="*/ 2104720 w 6859488"/>
                <a:gd name="connsiteY9" fmla="*/ 12347078 h 13718976"/>
                <a:gd name="connsiteX10" fmla="*/ 4098290 w 6859488"/>
                <a:gd name="connsiteY10" fmla="*/ 8893961 h 13718976"/>
                <a:gd name="connsiteX11" fmla="*/ 3715429 w 6859488"/>
                <a:gd name="connsiteY11" fmla="*/ 8231386 h 13718976"/>
                <a:gd name="connsiteX12" fmla="*/ 0 w 6859488"/>
                <a:gd name="connsiteY12" fmla="*/ 8231386 h 13718976"/>
                <a:gd name="connsiteX13" fmla="*/ 0 w 6859488"/>
                <a:gd name="connsiteY13" fmla="*/ 5487591 h 13718976"/>
                <a:gd name="connsiteX14" fmla="*/ 3715429 w 6859488"/>
                <a:gd name="connsiteY14" fmla="*/ 5487591 h 13718976"/>
                <a:gd name="connsiteX15" fmla="*/ 4100068 w 6859488"/>
                <a:gd name="connsiteY15" fmla="*/ 4822601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59488" h="13718976">
                  <a:moveTo>
                    <a:pt x="4100068" y="4822601"/>
                  </a:moveTo>
                  <a:lnTo>
                    <a:pt x="2107768" y="1371898"/>
                  </a:lnTo>
                  <a:lnTo>
                    <a:pt x="4484073" y="0"/>
                  </a:lnTo>
                  <a:lnTo>
                    <a:pt x="6476500" y="3451085"/>
                  </a:lnTo>
                  <a:cubicBezTo>
                    <a:pt x="6603668" y="3436908"/>
                    <a:pt x="6731533" y="3429782"/>
                    <a:pt x="6859488" y="3429744"/>
                  </a:cubicBezTo>
                  <a:lnTo>
                    <a:pt x="6859488" y="10289232"/>
                  </a:lnTo>
                  <a:cubicBezTo>
                    <a:pt x="6730543" y="10289194"/>
                    <a:pt x="6601711" y="10281941"/>
                    <a:pt x="6473578" y="10267510"/>
                  </a:cubicBezTo>
                  <a:lnTo>
                    <a:pt x="4480897" y="13718976"/>
                  </a:lnTo>
                  <a:lnTo>
                    <a:pt x="4480897" y="13718976"/>
                  </a:lnTo>
                  <a:lnTo>
                    <a:pt x="2104720" y="12347078"/>
                  </a:lnTo>
                  <a:lnTo>
                    <a:pt x="4098290" y="8893961"/>
                  </a:lnTo>
                  <a:cubicBezTo>
                    <a:pt x="3946302" y="8688113"/>
                    <a:pt x="3817877" y="8465866"/>
                    <a:pt x="3715429" y="8231386"/>
                  </a:cubicBezTo>
                  <a:lnTo>
                    <a:pt x="0" y="8231386"/>
                  </a:lnTo>
                  <a:lnTo>
                    <a:pt x="0" y="5487591"/>
                  </a:lnTo>
                  <a:lnTo>
                    <a:pt x="3715429" y="5487591"/>
                  </a:lnTo>
                  <a:cubicBezTo>
                    <a:pt x="3818271" y="5252196"/>
                    <a:pt x="3947305" y="5029123"/>
                    <a:pt x="4100068" y="4822601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7FF82F5F-E28D-4AF4-8B2D-24547E6CF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BEF7A0BB-70C8-4899-BEF5-B61009A36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81808-2113-44B7-933A-742A33F90FAD}" type="datetime1">
              <a:rPr lang="nb-NO" smtClean="0"/>
              <a:t>19.04.2026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4DEF32E5-EDBC-42C0-A899-F11A6C938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 endres på fanen Sett inn &gt; Topptekst/bunntekst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19D459CF-4735-47AB-A147-C5A7240FD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6118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 endres på fanen Sett inn &gt; Topptekst/bunntekst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12667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599"/>
            <a:ext cx="7028826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Plassholder for tekst 14">
            <a:extLst>
              <a:ext uri="{FF2B5EF4-FFF2-40B4-BE49-F238E27FC236}">
                <a16:creationId xmlns:a16="http://schemas.microsoft.com/office/drawing/2014/main" id="{E9230FA0-A588-4012-A4A2-42A4416B55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428243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C309F04-AB65-42BE-904A-B4B04507F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575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4" name="Plassholder for tekst 4">
            <a:extLst>
              <a:ext uri="{FF2B5EF4-FFF2-40B4-BE49-F238E27FC236}">
                <a16:creationId xmlns:a16="http://schemas.microsoft.com/office/drawing/2014/main" id="{38A5BCB3-DFBC-4BD9-86EF-50A0A9C4B4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04430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5540DAC1-EF9C-4A04-A299-46B10375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64575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DE5D03-D510-4404-BF4A-DF9538AF6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345" y="2559050"/>
            <a:ext cx="7028826" cy="1084482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Overskrift</a:t>
            </a:r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BF05A8D9-2000-4F21-99CC-3C2819C9458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24BB56F-AC29-4552-88E3-04F287ACEC84}" type="datetime1">
              <a:rPr lang="nb-NO" smtClean="0"/>
              <a:t>19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DE6D385-33F8-4D6E-AAB7-C45A9CE5E6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Bunntekst endres på fanen Sett inn &gt; Topptekst/bunntekst</a:t>
            </a:r>
          </a:p>
        </p:txBody>
      </p:sp>
      <p:sp>
        <p:nvSpPr>
          <p:cNvPr id="15" name="Plassholder for lysbildenummer 14">
            <a:extLst>
              <a:ext uri="{FF2B5EF4-FFF2-40B4-BE49-F238E27FC236}">
                <a16:creationId xmlns:a16="http://schemas.microsoft.com/office/drawing/2014/main" id="{016909E5-4E8C-4B2E-A9C1-EC5D83E58B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12789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19827A-1CB1-42DB-87FB-BB4DF6CBE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559DBD45-109B-4229-B27A-5EAF78ADD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7BD4F-8F84-49E6-AB68-F9FF61417581}" type="datetime1">
              <a:rPr lang="nb-NO" smtClean="0"/>
              <a:t>19.04.2026</a:t>
            </a:fld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70FDC7D0-3B61-499D-BDB0-687F70935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 endres på fanen Sett inn &gt; Topptekst/bunntekst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786DEB58-9292-44E6-B0CA-421D12109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95138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3F2E90-70AD-4B07-8844-9CC19EF61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CAB0-8215-4CFB-AF09-13536163ABEE}" type="datetime1">
              <a:rPr lang="nb-NO" smtClean="0"/>
              <a:t>19.04.2026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08A1AEDB-AD06-4AD1-8A68-4C55CEE5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 endres på fanen Sett inn &gt; Topptekst/bunntekst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95CC6AAF-62C3-4D78-8755-CAE05275E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19727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482223C-C6DE-275A-089B-4E948C0556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802" y="2244726"/>
            <a:ext cx="18286810" cy="4775200"/>
          </a:xfrm>
        </p:spPr>
        <p:txBody>
          <a:bodyPr anchor="b"/>
          <a:lstStyle>
            <a:lvl1pPr algn="ctr">
              <a:defRPr sz="119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E73BA49-1D67-25B2-1888-D6238677B7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802" y="7204076"/>
            <a:ext cx="1828681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CE6E1F7-17C9-0B70-243A-3FADC2E81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17761B-E0CD-4E70-B4BB-0D279F36B227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071AC4D-EBB2-769A-2666-0404A0AE0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CBBF3D8-0B19-FD19-1768-75CEBCDEF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EECE4-2E6D-4ABF-8703-BF0957D740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422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394FA5-501D-4945-B2A2-207E9928B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67" y="730251"/>
            <a:ext cx="21029831" cy="2651126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B866407-6BA9-43C7-BA8D-48A27A5F34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467" y="3362326"/>
            <a:ext cx="10314903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963441A-DDDA-4A70-9F03-F7D4ABC288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467" y="5010150"/>
            <a:ext cx="10314903" cy="736917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FD22762-5E5A-4E36-8C27-7B446D2057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3597" y="3362326"/>
            <a:ext cx="10365701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6A2D438-D2DB-4431-897D-C06F685041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3597" y="5010150"/>
            <a:ext cx="10365701" cy="736917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A168C070-6564-4A4B-A9C6-5E5D39D19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AE024976-1669-4E3C-A79A-3305823C2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9FCE88E4-541A-4A74-A0FB-3AD85179A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26658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201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4" y="4478454"/>
            <a:ext cx="15378111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200" y="3412386"/>
            <a:ext cx="15379199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grpSp>
        <p:nvGrpSpPr>
          <p:cNvPr id="6" name="Stående form 7">
            <a:extLst>
              <a:ext uri="{FF2B5EF4-FFF2-40B4-BE49-F238E27FC236}">
                <a16:creationId xmlns:a16="http://schemas.microsoft.com/office/drawing/2014/main" id="{BD6836DC-10F4-4BDA-85FB-0AB85EDD5878}"/>
              </a:ext>
            </a:extLst>
          </p:cNvPr>
          <p:cNvGrpSpPr/>
          <p:nvPr/>
        </p:nvGrpSpPr>
        <p:grpSpPr>
          <a:xfrm>
            <a:off x="17524412" y="0"/>
            <a:ext cx="6858000" cy="13716000"/>
            <a:chOff x="17535986" y="0"/>
            <a:chExt cx="6858000" cy="13716000"/>
          </a:xfrm>
        </p:grpSpPr>
        <p:sp>
          <p:nvSpPr>
            <p:cNvPr id="7" name="bakgrunn">
              <a:extLst>
                <a:ext uri="{FF2B5EF4-FFF2-40B4-BE49-F238E27FC236}">
                  <a16:creationId xmlns:a16="http://schemas.microsoft.com/office/drawing/2014/main" id="{7B700173-06DB-46FE-9A3C-F181CDAE5143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rgbClr val="A0D2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8" name="forgrunn">
              <a:extLst>
                <a:ext uri="{FF2B5EF4-FFF2-40B4-BE49-F238E27FC236}">
                  <a16:creationId xmlns:a16="http://schemas.microsoft.com/office/drawing/2014/main" id="{C44EDABC-D226-4186-BC4A-2386F72CBF4A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rgbClr val="3C78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</p:spTree>
    <p:extLst>
      <p:ext uri="{BB962C8B-B14F-4D97-AF65-F5344CB8AC3E}">
        <p14:creationId xmlns:p14="http://schemas.microsoft.com/office/powerpoint/2010/main" val="315767751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lys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201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4" y="4478454"/>
            <a:ext cx="15378111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200" y="3412386"/>
            <a:ext cx="15379199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sp>
        <p:nvSpPr>
          <p:cNvPr id="7" name="bakgrunn">
            <a:extLst>
              <a:ext uri="{FF2B5EF4-FFF2-40B4-BE49-F238E27FC236}">
                <a16:creationId xmlns:a16="http://schemas.microsoft.com/office/drawing/2014/main" id="{7B700173-06DB-46FE-9A3C-F181CDAE5143}"/>
              </a:ext>
            </a:extLst>
          </p:cNvPr>
          <p:cNvSpPr/>
          <p:nvPr/>
        </p:nvSpPr>
        <p:spPr>
          <a:xfrm>
            <a:off x="17524412" y="0"/>
            <a:ext cx="6858000" cy="13716000"/>
          </a:xfrm>
          <a:custGeom>
            <a:avLst/>
            <a:gdLst>
              <a:gd name="connsiteX0" fmla="*/ 0 w 6858000"/>
              <a:gd name="connsiteY0" fmla="*/ 0 h 13716000"/>
              <a:gd name="connsiteX1" fmla="*/ 6858000 w 6858000"/>
              <a:gd name="connsiteY1" fmla="*/ 0 h 13716000"/>
              <a:gd name="connsiteX2" fmla="*/ 6858000 w 6858000"/>
              <a:gd name="connsiteY2" fmla="*/ 13716000 h 13716000"/>
              <a:gd name="connsiteX3" fmla="*/ 0 w 68580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3716000">
                <a:moveTo>
                  <a:pt x="0" y="0"/>
                </a:moveTo>
                <a:lnTo>
                  <a:pt x="6858000" y="0"/>
                </a:lnTo>
                <a:lnTo>
                  <a:pt x="6858000" y="13716000"/>
                </a:lnTo>
                <a:lnTo>
                  <a:pt x="0" y="13716000"/>
                </a:lnTo>
                <a:close/>
              </a:path>
            </a:pathLst>
          </a:custGeom>
          <a:solidFill>
            <a:srgbClr val="A0D2B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1800"/>
          </a:p>
        </p:txBody>
      </p:sp>
      <p:pic>
        <p:nvPicPr>
          <p:cNvPr id="9" name="Bilde 8" descr="Et bilde som inneholder tekst, visittkort&#10;&#10;Automatisk generert beskrivelse">
            <a:extLst>
              <a:ext uri="{FF2B5EF4-FFF2-40B4-BE49-F238E27FC236}">
                <a16:creationId xmlns:a16="http://schemas.microsoft.com/office/drawing/2014/main" id="{3F53CC38-FFA2-4FD0-B8F1-8C6486579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25802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200" y="3412386"/>
            <a:ext cx="15379199" cy="117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12" name="Stående form 4">
            <a:extLst>
              <a:ext uri="{FF2B5EF4-FFF2-40B4-BE49-F238E27FC236}">
                <a16:creationId xmlns:a16="http://schemas.microsoft.com/office/drawing/2014/main" id="{601E0C09-C076-4453-A83C-5393AC103BFD}"/>
              </a:ext>
            </a:extLst>
          </p:cNvPr>
          <p:cNvGrpSpPr/>
          <p:nvPr/>
        </p:nvGrpSpPr>
        <p:grpSpPr>
          <a:xfrm>
            <a:off x="17524414" y="1"/>
            <a:ext cx="6858000" cy="13715998"/>
            <a:chOff x="17535985" y="0"/>
            <a:chExt cx="6857999" cy="13715998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627F9877-D20E-4648-A06B-41CD21727116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6857999 w 6857999"/>
                <a:gd name="connsiteY1" fmla="*/ 0 h 13715998"/>
                <a:gd name="connsiteX2" fmla="*/ 6857999 w 6857999"/>
                <a:gd name="connsiteY2" fmla="*/ 13715998 h 13715998"/>
                <a:gd name="connsiteX3" fmla="*/ 0 w 6857999"/>
                <a:gd name="connsiteY3" fmla="*/ 13715998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lnTo>
                    <a:pt x="6857999" y="0"/>
                  </a:lnTo>
                  <a:lnTo>
                    <a:pt x="6857999" y="13715998"/>
                  </a:lnTo>
                  <a:lnTo>
                    <a:pt x="0" y="13715998"/>
                  </a:lnTo>
                  <a:close/>
                </a:path>
              </a:pathLst>
            </a:custGeom>
            <a:solidFill>
              <a:schemeClr val="accent2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7C0BD930-8AD8-4529-A098-4F0356EDA06E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1371600 w 6857999"/>
                <a:gd name="connsiteY1" fmla="*/ 1371600 h 13715998"/>
                <a:gd name="connsiteX2" fmla="*/ 1371600 w 6857999"/>
                <a:gd name="connsiteY2" fmla="*/ 2743200 h 13715998"/>
                <a:gd name="connsiteX3" fmla="*/ 2057400 w 6857999"/>
                <a:gd name="connsiteY3" fmla="*/ 2743200 h 13715998"/>
                <a:gd name="connsiteX4" fmla="*/ 3429000 w 6857999"/>
                <a:gd name="connsiteY4" fmla="*/ 4114800 h 13715998"/>
                <a:gd name="connsiteX5" fmla="*/ 4800600 w 6857999"/>
                <a:gd name="connsiteY5" fmla="*/ 5486399 h 13715998"/>
                <a:gd name="connsiteX6" fmla="*/ 5486399 w 6857999"/>
                <a:gd name="connsiteY6" fmla="*/ 5486399 h 13715998"/>
                <a:gd name="connsiteX7" fmla="*/ 6857999 w 6857999"/>
                <a:gd name="connsiteY7" fmla="*/ 6857999 h 13715998"/>
                <a:gd name="connsiteX8" fmla="*/ 6857999 w 6857999"/>
                <a:gd name="connsiteY8" fmla="*/ 13715998 h 13715998"/>
                <a:gd name="connsiteX9" fmla="*/ 0 w 6857999"/>
                <a:gd name="connsiteY9" fmla="*/ 13715998 h 13715998"/>
                <a:gd name="connsiteX10" fmla="*/ 0 w 6857999"/>
                <a:gd name="connsiteY10" fmla="*/ 0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cubicBezTo>
                    <a:pt x="757514" y="0"/>
                    <a:pt x="1371600" y="614086"/>
                    <a:pt x="1371600" y="1371600"/>
                  </a:cubicBezTo>
                  <a:lnTo>
                    <a:pt x="1371600" y="2743200"/>
                  </a:lnTo>
                  <a:lnTo>
                    <a:pt x="2057400" y="2743200"/>
                  </a:lnTo>
                  <a:cubicBezTo>
                    <a:pt x="2814914" y="2743200"/>
                    <a:pt x="3429000" y="3357286"/>
                    <a:pt x="3429000" y="4114800"/>
                  </a:cubicBezTo>
                  <a:cubicBezTo>
                    <a:pt x="3429000" y="4872313"/>
                    <a:pt x="4043086" y="5486399"/>
                    <a:pt x="4800600" y="5486399"/>
                  </a:cubicBezTo>
                  <a:lnTo>
                    <a:pt x="5486399" y="5486399"/>
                  </a:lnTo>
                  <a:cubicBezTo>
                    <a:pt x="6243913" y="5486399"/>
                    <a:pt x="6857999" y="6100486"/>
                    <a:pt x="6857999" y="6857999"/>
                  </a:cubicBezTo>
                  <a:lnTo>
                    <a:pt x="6857999" y="13715998"/>
                  </a:lnTo>
                  <a:lnTo>
                    <a:pt x="0" y="137159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  <p:sp>
        <p:nvSpPr>
          <p:cNvPr id="8" name="Linje to">
            <a:extLst>
              <a:ext uri="{FF2B5EF4-FFF2-40B4-BE49-F238E27FC236}">
                <a16:creationId xmlns:a16="http://schemas.microsoft.com/office/drawing/2014/main" id="{FACA3E44-2CCA-4289-9737-1C5B618694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4" y="4478454"/>
            <a:ext cx="15378111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</p:spTree>
    <p:extLst>
      <p:ext uri="{BB962C8B-B14F-4D97-AF65-F5344CB8AC3E}">
        <p14:creationId xmlns:p14="http://schemas.microsoft.com/office/powerpoint/2010/main" val="15408194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Stående form 5">
            <a:extLst>
              <a:ext uri="{FF2B5EF4-FFF2-40B4-BE49-F238E27FC236}">
                <a16:creationId xmlns:a16="http://schemas.microsoft.com/office/drawing/2014/main" id="{7CF8F35D-9353-41A1-B640-CF36302C9EE1}"/>
              </a:ext>
            </a:extLst>
          </p:cNvPr>
          <p:cNvGrpSpPr/>
          <p:nvPr userDrawn="1"/>
        </p:nvGrpSpPr>
        <p:grpSpPr>
          <a:xfrm>
            <a:off x="17524414" y="0"/>
            <a:ext cx="6858000" cy="13716000"/>
            <a:chOff x="17519650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D5DCE1B5-9345-4905-800A-576635B4B82C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6A9A4852-B4FC-41C6-BC42-67E1EB678D40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3429000 w 6858000"/>
                <a:gd name="connsiteY0" fmla="*/ 0 h 13716000"/>
                <a:gd name="connsiteX1" fmla="*/ 0 w 6858000"/>
                <a:gd name="connsiteY1" fmla="*/ 0 h 13716000"/>
                <a:gd name="connsiteX2" fmla="*/ 0 w 6858000"/>
                <a:gd name="connsiteY2" fmla="*/ 13716000 h 13716000"/>
                <a:gd name="connsiteX3" fmla="*/ 3429000 w 6858000"/>
                <a:gd name="connsiteY3" fmla="*/ 6858000 h 13716000"/>
                <a:gd name="connsiteX4" fmla="*/ 5486400 w 6858000"/>
                <a:gd name="connsiteY4" fmla="*/ 8229600 h 13716000"/>
                <a:gd name="connsiteX5" fmla="*/ 6858000 w 6858000"/>
                <a:gd name="connsiteY5" fmla="*/ 6858000 h 13716000"/>
                <a:gd name="connsiteX6" fmla="*/ 6692900 w 6858000"/>
                <a:gd name="connsiteY6" fmla="*/ 5596128 h 13716000"/>
                <a:gd name="connsiteX7" fmla="*/ 3429000 w 6858000"/>
                <a:gd name="connsiteY7" fmla="*/ 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13716000">
                  <a:moveTo>
                    <a:pt x="3429000" y="0"/>
                  </a:moveTo>
                  <a:lnTo>
                    <a:pt x="0" y="0"/>
                  </a:lnTo>
                  <a:lnTo>
                    <a:pt x="0" y="13716000"/>
                  </a:lnTo>
                  <a:cubicBezTo>
                    <a:pt x="2949575" y="13706729"/>
                    <a:pt x="3429000" y="8291069"/>
                    <a:pt x="3429000" y="6858000"/>
                  </a:cubicBezTo>
                  <a:cubicBezTo>
                    <a:pt x="3429000" y="7257034"/>
                    <a:pt x="4685157" y="8229600"/>
                    <a:pt x="5486400" y="8229600"/>
                  </a:cubicBezTo>
                  <a:cubicBezTo>
                    <a:pt x="6453505" y="8229600"/>
                    <a:pt x="6858000" y="7724521"/>
                    <a:pt x="6858000" y="6858000"/>
                  </a:cubicBezTo>
                  <a:cubicBezTo>
                    <a:pt x="6858000" y="6477000"/>
                    <a:pt x="6847332" y="6143244"/>
                    <a:pt x="6692900" y="5596128"/>
                  </a:cubicBezTo>
                  <a:cubicBezTo>
                    <a:pt x="6293739" y="4175633"/>
                    <a:pt x="3429000" y="0"/>
                    <a:pt x="3429000" y="0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600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5793275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2C2B331-E123-47D9-82A3-F7FF3C021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48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2C2B331-E123-47D9-82A3-F7FF3C021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visittkort&#10;&#10;Automatisk generert beskrivelse">
            <a:extLst>
              <a:ext uri="{FF2B5EF4-FFF2-40B4-BE49-F238E27FC236}">
                <a16:creationId xmlns:a16="http://schemas.microsoft.com/office/drawing/2014/main" id="{870690A2-AE08-4C52-93EF-D83CFEF7F3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600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8395730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7DA1664-57A6-4C09-9BBF-0EBF03A6F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54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7DA1664-57A6-4C09-9BBF-0EBF03A6F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konvolutt, brevhode, visittkort&#10;&#10;Automatisk generert beskrivelse">
            <a:extLst>
              <a:ext uri="{FF2B5EF4-FFF2-40B4-BE49-F238E27FC236}">
                <a16:creationId xmlns:a16="http://schemas.microsoft.com/office/drawing/2014/main" id="{693834F5-AA7D-46E3-84BA-E6BD0E8D9E5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600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0294804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E538454-ABBE-4E79-9180-754D8E423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956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E538454-ABBE-4E79-9180-754D8E423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FE0C6858-18EF-4840-92F2-1026259A73C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4414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600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7681925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+ Grafik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600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12" name="Stående form 6">
            <a:extLst>
              <a:ext uri="{FF2B5EF4-FFF2-40B4-BE49-F238E27FC236}">
                <a16:creationId xmlns:a16="http://schemas.microsoft.com/office/drawing/2014/main" id="{B4F0492E-516C-4E72-A987-D2592A10211E}"/>
              </a:ext>
            </a:extLst>
          </p:cNvPr>
          <p:cNvGrpSpPr/>
          <p:nvPr userDrawn="1"/>
        </p:nvGrpSpPr>
        <p:grpSpPr>
          <a:xfrm>
            <a:off x="17522924" y="0"/>
            <a:ext cx="6859488" cy="13718976"/>
            <a:chOff x="17522925" y="0"/>
            <a:chExt cx="6859488" cy="13718976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81F3C32A-73E8-4F9B-A044-BC273CB81A73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0 w 6859488"/>
                <a:gd name="connsiteY0" fmla="*/ 0 h 13718976"/>
                <a:gd name="connsiteX1" fmla="*/ 6859488 w 6859488"/>
                <a:gd name="connsiteY1" fmla="*/ 0 h 13718976"/>
                <a:gd name="connsiteX2" fmla="*/ 6859488 w 6859488"/>
                <a:gd name="connsiteY2" fmla="*/ 13718976 h 13718976"/>
                <a:gd name="connsiteX3" fmla="*/ 0 w 6859488"/>
                <a:gd name="connsiteY3" fmla="*/ 13718976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9488" h="13718976">
                  <a:moveTo>
                    <a:pt x="0" y="0"/>
                  </a:moveTo>
                  <a:lnTo>
                    <a:pt x="6859488" y="0"/>
                  </a:lnTo>
                  <a:lnTo>
                    <a:pt x="6859488" y="13718976"/>
                  </a:lnTo>
                  <a:lnTo>
                    <a:pt x="0" y="13718976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FDB1F66A-A870-4ED2-B5A6-D90FE45609E0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4100068 w 6859488"/>
                <a:gd name="connsiteY0" fmla="*/ 4822601 h 13718976"/>
                <a:gd name="connsiteX1" fmla="*/ 2107768 w 6859488"/>
                <a:gd name="connsiteY1" fmla="*/ 1371898 h 13718976"/>
                <a:gd name="connsiteX2" fmla="*/ 4484073 w 6859488"/>
                <a:gd name="connsiteY2" fmla="*/ 0 h 13718976"/>
                <a:gd name="connsiteX3" fmla="*/ 6476500 w 6859488"/>
                <a:gd name="connsiteY3" fmla="*/ 3451085 h 13718976"/>
                <a:gd name="connsiteX4" fmla="*/ 6859488 w 6859488"/>
                <a:gd name="connsiteY4" fmla="*/ 3429744 h 13718976"/>
                <a:gd name="connsiteX5" fmla="*/ 6859488 w 6859488"/>
                <a:gd name="connsiteY5" fmla="*/ 10289232 h 13718976"/>
                <a:gd name="connsiteX6" fmla="*/ 6473578 w 6859488"/>
                <a:gd name="connsiteY6" fmla="*/ 10267510 h 13718976"/>
                <a:gd name="connsiteX7" fmla="*/ 4480897 w 6859488"/>
                <a:gd name="connsiteY7" fmla="*/ 13718976 h 13718976"/>
                <a:gd name="connsiteX8" fmla="*/ 4480897 w 6859488"/>
                <a:gd name="connsiteY8" fmla="*/ 13718976 h 13718976"/>
                <a:gd name="connsiteX9" fmla="*/ 2104720 w 6859488"/>
                <a:gd name="connsiteY9" fmla="*/ 12347078 h 13718976"/>
                <a:gd name="connsiteX10" fmla="*/ 4098290 w 6859488"/>
                <a:gd name="connsiteY10" fmla="*/ 8893961 h 13718976"/>
                <a:gd name="connsiteX11" fmla="*/ 3715429 w 6859488"/>
                <a:gd name="connsiteY11" fmla="*/ 8231386 h 13718976"/>
                <a:gd name="connsiteX12" fmla="*/ 0 w 6859488"/>
                <a:gd name="connsiteY12" fmla="*/ 8231386 h 13718976"/>
                <a:gd name="connsiteX13" fmla="*/ 0 w 6859488"/>
                <a:gd name="connsiteY13" fmla="*/ 5487591 h 13718976"/>
                <a:gd name="connsiteX14" fmla="*/ 3715429 w 6859488"/>
                <a:gd name="connsiteY14" fmla="*/ 5487591 h 13718976"/>
                <a:gd name="connsiteX15" fmla="*/ 4100068 w 6859488"/>
                <a:gd name="connsiteY15" fmla="*/ 4822601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59488" h="13718976">
                  <a:moveTo>
                    <a:pt x="4100068" y="4822601"/>
                  </a:moveTo>
                  <a:lnTo>
                    <a:pt x="2107768" y="1371898"/>
                  </a:lnTo>
                  <a:lnTo>
                    <a:pt x="4484073" y="0"/>
                  </a:lnTo>
                  <a:lnTo>
                    <a:pt x="6476500" y="3451085"/>
                  </a:lnTo>
                  <a:cubicBezTo>
                    <a:pt x="6603668" y="3436908"/>
                    <a:pt x="6731533" y="3429782"/>
                    <a:pt x="6859488" y="3429744"/>
                  </a:cubicBezTo>
                  <a:lnTo>
                    <a:pt x="6859488" y="10289232"/>
                  </a:lnTo>
                  <a:cubicBezTo>
                    <a:pt x="6730543" y="10289194"/>
                    <a:pt x="6601711" y="10281941"/>
                    <a:pt x="6473578" y="10267510"/>
                  </a:cubicBezTo>
                  <a:lnTo>
                    <a:pt x="4480897" y="13718976"/>
                  </a:lnTo>
                  <a:lnTo>
                    <a:pt x="4480897" y="13718976"/>
                  </a:lnTo>
                  <a:lnTo>
                    <a:pt x="2104720" y="12347078"/>
                  </a:lnTo>
                  <a:lnTo>
                    <a:pt x="4098290" y="8893961"/>
                  </a:lnTo>
                  <a:cubicBezTo>
                    <a:pt x="3946302" y="8688113"/>
                    <a:pt x="3817877" y="8465866"/>
                    <a:pt x="3715429" y="8231386"/>
                  </a:cubicBezTo>
                  <a:lnTo>
                    <a:pt x="0" y="8231386"/>
                  </a:lnTo>
                  <a:lnTo>
                    <a:pt x="0" y="5487591"/>
                  </a:lnTo>
                  <a:lnTo>
                    <a:pt x="3715429" y="5487591"/>
                  </a:lnTo>
                  <a:cubicBezTo>
                    <a:pt x="3818271" y="5252196"/>
                    <a:pt x="3947305" y="5029123"/>
                    <a:pt x="4100068" y="4822601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7FF82F5F-E28D-4AF4-8B2D-24547E6CF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BEF7A0BB-70C8-4899-BEF5-B61009A36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81808-2113-44B7-933A-742A33F90FAD}" type="datetime1">
              <a:rPr lang="nb-NO" smtClean="0"/>
              <a:t>19.04.2026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4DEF32E5-EDBC-42C0-A899-F11A6C938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19D459CF-4735-47AB-A147-C5A7240FD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4820963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9449956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600"/>
            <a:ext cx="7028827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Plassholder for tekst 14">
            <a:extLst>
              <a:ext uri="{FF2B5EF4-FFF2-40B4-BE49-F238E27FC236}">
                <a16:creationId xmlns:a16="http://schemas.microsoft.com/office/drawing/2014/main" id="{E9230FA0-A588-4012-A4A2-42A4416B55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428245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C309F04-AB65-42BE-904A-B4B04507F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574" y="2558259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4" name="Plassholder for tekst 4">
            <a:extLst>
              <a:ext uri="{FF2B5EF4-FFF2-40B4-BE49-F238E27FC236}">
                <a16:creationId xmlns:a16="http://schemas.microsoft.com/office/drawing/2014/main" id="{38A5BCB3-DFBC-4BD9-86EF-50A0A9C4B4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04431" y="2558259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5540DAC1-EF9C-4A04-A299-46B10375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64577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DE5D03-D510-4404-BF4A-DF9538AF6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344" y="2559051"/>
            <a:ext cx="7028827" cy="1084482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Overskrift</a:t>
            </a:r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BF05A8D9-2000-4F21-99CC-3C2819C9458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24BB56F-AC29-4552-88E3-04F287ACEC84}" type="datetime1">
              <a:rPr lang="nb-NO" smtClean="0"/>
              <a:t>19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DE6D385-33F8-4D6E-AAB7-C45A9CE5E6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5" name="Plassholder for lysbildenummer 14">
            <a:extLst>
              <a:ext uri="{FF2B5EF4-FFF2-40B4-BE49-F238E27FC236}">
                <a16:creationId xmlns:a16="http://schemas.microsoft.com/office/drawing/2014/main" id="{016909E5-4E8C-4B2E-A9C1-EC5D83E58B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280451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73B705-9B60-4606-A11E-13595EE97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2C7A528F-A62A-4F58-860E-CAE4E52E3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C2366E2-8560-4485-A879-AF5DA06D4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802A745-EEF9-4CA0-965A-6D5D64299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92669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19827A-1CB1-42DB-87FB-BB4DF6CBE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559DBD45-109B-4229-B27A-5EAF78ADD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7BD4F-8F84-49E6-AB68-F9FF61417581}" type="datetime1">
              <a:rPr lang="nb-NO" smtClean="0"/>
              <a:t>19.04.2026</a:t>
            </a:fld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70FDC7D0-3B61-499D-BDB0-687F70935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786DEB58-9292-44E6-B0CA-421D12109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103739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3F2E90-70AD-4B07-8844-9CC19EF61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CAB0-8215-4CFB-AF09-13536163ABEE}" type="datetime1">
              <a:rPr lang="nb-NO" smtClean="0"/>
              <a:t>19.04.2026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08A1AEDB-AD06-4AD1-8A68-4C55CEE5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95CC6AAF-62C3-4D78-8755-CAE05275E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95469664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200" y="3412386"/>
            <a:ext cx="15379199" cy="242352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8" name="Liggende form 1">
            <a:extLst>
              <a:ext uri="{FF2B5EF4-FFF2-40B4-BE49-F238E27FC236}">
                <a16:creationId xmlns:a16="http://schemas.microsoft.com/office/drawing/2014/main" id="{A4707B15-42DA-4EFE-BB80-D19E7972D9FD}"/>
              </a:ext>
            </a:extLst>
          </p:cNvPr>
          <p:cNvGrpSpPr/>
          <p:nvPr/>
        </p:nvGrpSpPr>
        <p:grpSpPr>
          <a:xfrm>
            <a:off x="10669025" y="6859306"/>
            <a:ext cx="13713389" cy="6856696"/>
            <a:chOff x="10661652" y="6858000"/>
            <a:chExt cx="13713390" cy="6856695"/>
          </a:xfrm>
        </p:grpSpPr>
        <p:sp>
          <p:nvSpPr>
            <p:cNvPr id="10" name="bakgrunn">
              <a:extLst>
                <a:ext uri="{FF2B5EF4-FFF2-40B4-BE49-F238E27FC236}">
                  <a16:creationId xmlns:a16="http://schemas.microsoft.com/office/drawing/2014/main" id="{F8151C68-EF9E-42A3-81FF-F9942BF676DB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0 w 13713390"/>
                <a:gd name="connsiteY0" fmla="*/ 0 h 6856695"/>
                <a:gd name="connsiteX1" fmla="*/ 13713390 w 13713390"/>
                <a:gd name="connsiteY1" fmla="*/ 0 h 6856695"/>
                <a:gd name="connsiteX2" fmla="*/ 13713390 w 13713390"/>
                <a:gd name="connsiteY2" fmla="*/ 6856695 h 6856695"/>
                <a:gd name="connsiteX3" fmla="*/ 0 w 13713390"/>
                <a:gd name="connsiteY3" fmla="*/ 6856695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90" h="6856695">
                  <a:moveTo>
                    <a:pt x="0" y="0"/>
                  </a:moveTo>
                  <a:lnTo>
                    <a:pt x="13713390" y="0"/>
                  </a:lnTo>
                  <a:lnTo>
                    <a:pt x="13713390" y="6856695"/>
                  </a:lnTo>
                  <a:lnTo>
                    <a:pt x="0" y="6856695"/>
                  </a:lnTo>
                  <a:close/>
                </a:path>
              </a:pathLst>
            </a:custGeom>
            <a:solidFill>
              <a:schemeClr val="accent2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11" name="forgrunn">
              <a:extLst>
                <a:ext uri="{FF2B5EF4-FFF2-40B4-BE49-F238E27FC236}">
                  <a16:creationId xmlns:a16="http://schemas.microsoft.com/office/drawing/2014/main" id="{0D074997-3808-4F94-8E27-E4DEBC1BAD19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10285042 w 13713390"/>
                <a:gd name="connsiteY0" fmla="*/ 4199218 h 6856695"/>
                <a:gd name="connsiteX1" fmla="*/ 5485356 w 13713390"/>
                <a:gd name="connsiteY1" fmla="*/ 1371339 h 6856695"/>
                <a:gd name="connsiteX2" fmla="*/ 5485356 w 13713390"/>
                <a:gd name="connsiteY2" fmla="*/ 0 h 6856695"/>
                <a:gd name="connsiteX3" fmla="*/ 2742678 w 13713390"/>
                <a:gd name="connsiteY3" fmla="*/ 0 h 6856695"/>
                <a:gd name="connsiteX4" fmla="*/ 2742678 w 13713390"/>
                <a:gd name="connsiteY4" fmla="*/ 2105259 h 6856695"/>
                <a:gd name="connsiteX5" fmla="*/ 0 w 13713390"/>
                <a:gd name="connsiteY5" fmla="*/ 6856695 h 6856695"/>
                <a:gd name="connsiteX6" fmla="*/ 13713390 w 13713390"/>
                <a:gd name="connsiteY6" fmla="*/ 6856695 h 6856695"/>
                <a:gd name="connsiteX7" fmla="*/ 13713390 w 13713390"/>
                <a:gd name="connsiteY7" fmla="*/ 1544153 h 6856695"/>
                <a:gd name="connsiteX8" fmla="*/ 10285042 w 13713390"/>
                <a:gd name="connsiteY8" fmla="*/ 4199218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3390" h="6856695">
                  <a:moveTo>
                    <a:pt x="10285042" y="4199218"/>
                  </a:moveTo>
                  <a:cubicBezTo>
                    <a:pt x="9349358" y="2512852"/>
                    <a:pt x="7550745" y="1371339"/>
                    <a:pt x="5485356" y="1371339"/>
                  </a:cubicBezTo>
                  <a:lnTo>
                    <a:pt x="5485356" y="0"/>
                  </a:lnTo>
                  <a:lnTo>
                    <a:pt x="2742678" y="0"/>
                  </a:lnTo>
                  <a:lnTo>
                    <a:pt x="2742678" y="2105259"/>
                  </a:lnTo>
                  <a:cubicBezTo>
                    <a:pt x="1103166" y="3053769"/>
                    <a:pt x="0" y="4826352"/>
                    <a:pt x="0" y="6856695"/>
                  </a:cubicBezTo>
                  <a:lnTo>
                    <a:pt x="13713390" y="6856695"/>
                  </a:lnTo>
                  <a:lnTo>
                    <a:pt x="13713390" y="1544153"/>
                  </a:lnTo>
                  <a:cubicBezTo>
                    <a:pt x="12240470" y="1923430"/>
                    <a:pt x="11006265" y="2899493"/>
                    <a:pt x="10285042" y="4199218"/>
                  </a:cubicBezTo>
                  <a:close/>
                </a:path>
              </a:pathLst>
            </a:custGeom>
            <a:solidFill>
              <a:schemeClr val="accent3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6"/>
            <a:ext cx="10682289" cy="6856696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</p:spTree>
    <p:extLst>
      <p:ext uri="{BB962C8B-B14F-4D97-AF65-F5344CB8AC3E}">
        <p14:creationId xmlns:p14="http://schemas.microsoft.com/office/powerpoint/2010/main" val="1896751286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0D4F1DEC-AF00-49F5-9A96-F11927F398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201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200" y="3412386"/>
            <a:ext cx="15379199" cy="242352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6"/>
            <a:ext cx="10682289" cy="68566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Liggende form 4">
            <a:extLst>
              <a:ext uri="{FF2B5EF4-FFF2-40B4-BE49-F238E27FC236}">
                <a16:creationId xmlns:a16="http://schemas.microsoft.com/office/drawing/2014/main" id="{FA70E6D1-4DD1-4767-AB07-BA580E4968DE}"/>
              </a:ext>
            </a:extLst>
          </p:cNvPr>
          <p:cNvGrpSpPr/>
          <p:nvPr userDrawn="1"/>
        </p:nvGrpSpPr>
        <p:grpSpPr>
          <a:xfrm>
            <a:off x="10669025" y="6859307"/>
            <a:ext cx="13713389" cy="6856694"/>
            <a:chOff x="10669024" y="6859305"/>
            <a:chExt cx="13713389" cy="6856694"/>
          </a:xfrm>
          <a:solidFill>
            <a:schemeClr val="accent1"/>
          </a:solidFill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C6E1F081-C55C-4716-9F22-89110EE07E73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0 w 13713389"/>
                <a:gd name="connsiteY0" fmla="*/ 0 h 6856694"/>
                <a:gd name="connsiteX1" fmla="*/ 13713389 w 13713389"/>
                <a:gd name="connsiteY1" fmla="*/ 0 h 6856694"/>
                <a:gd name="connsiteX2" fmla="*/ 13713389 w 13713389"/>
                <a:gd name="connsiteY2" fmla="*/ 6856694 h 6856694"/>
                <a:gd name="connsiteX3" fmla="*/ 0 w 13713389"/>
                <a:gd name="connsiteY3" fmla="*/ 6856694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89" h="6856694">
                  <a:moveTo>
                    <a:pt x="0" y="0"/>
                  </a:moveTo>
                  <a:lnTo>
                    <a:pt x="13713389" y="0"/>
                  </a:lnTo>
                  <a:lnTo>
                    <a:pt x="13713389" y="6856694"/>
                  </a:lnTo>
                  <a:lnTo>
                    <a:pt x="0" y="6856694"/>
                  </a:lnTo>
                  <a:close/>
                </a:path>
              </a:pathLst>
            </a:custGeom>
            <a:solidFill>
              <a:schemeClr val="accent1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5361AB24-13A1-454B-ABC1-5AC98B995654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4114017 w 13713389"/>
                <a:gd name="connsiteY0" fmla="*/ 1371339 h 6856694"/>
                <a:gd name="connsiteX1" fmla="*/ 4114017 w 13713389"/>
                <a:gd name="connsiteY1" fmla="*/ 2742678 h 6856694"/>
                <a:gd name="connsiteX2" fmla="*/ 3291214 w 13713389"/>
                <a:gd name="connsiteY2" fmla="*/ 2742678 h 6856694"/>
                <a:gd name="connsiteX3" fmla="*/ 2742678 w 13713389"/>
                <a:gd name="connsiteY3" fmla="*/ 3291213 h 6856694"/>
                <a:gd name="connsiteX4" fmla="*/ 2331276 w 13713389"/>
                <a:gd name="connsiteY4" fmla="*/ 5485355 h 6856694"/>
                <a:gd name="connsiteX5" fmla="*/ 0 w 13713389"/>
                <a:gd name="connsiteY5" fmla="*/ 5485355 h 6856694"/>
                <a:gd name="connsiteX6" fmla="*/ 0 w 13713389"/>
                <a:gd name="connsiteY6" fmla="*/ 6856694 h 6856694"/>
                <a:gd name="connsiteX7" fmla="*/ 13713389 w 13713389"/>
                <a:gd name="connsiteY7" fmla="*/ 6856694 h 6856694"/>
                <a:gd name="connsiteX8" fmla="*/ 13713389 w 13713389"/>
                <a:gd name="connsiteY8" fmla="*/ 5485355 h 6856694"/>
                <a:gd name="connsiteX9" fmla="*/ 11382113 w 13713389"/>
                <a:gd name="connsiteY9" fmla="*/ 5485355 h 6856694"/>
                <a:gd name="connsiteX10" fmla="*/ 10970711 w 13713389"/>
                <a:gd name="connsiteY10" fmla="*/ 3291213 h 6856694"/>
                <a:gd name="connsiteX11" fmla="*/ 10422175 w 13713389"/>
                <a:gd name="connsiteY11" fmla="*/ 2742678 h 6856694"/>
                <a:gd name="connsiteX12" fmla="*/ 9599372 w 13713389"/>
                <a:gd name="connsiteY12" fmla="*/ 2742678 h 6856694"/>
                <a:gd name="connsiteX13" fmla="*/ 9599372 w 13713389"/>
                <a:gd name="connsiteY13" fmla="*/ 1371339 h 6856694"/>
                <a:gd name="connsiteX14" fmla="*/ 8228034 w 13713389"/>
                <a:gd name="connsiteY14" fmla="*/ 0 h 6856694"/>
                <a:gd name="connsiteX15" fmla="*/ 5485356 w 13713389"/>
                <a:gd name="connsiteY15" fmla="*/ 0 h 6856694"/>
                <a:gd name="connsiteX16" fmla="*/ 4114017 w 13713389"/>
                <a:gd name="connsiteY16" fmla="*/ 1371339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713389" h="6856694">
                  <a:moveTo>
                    <a:pt x="4114017" y="1371339"/>
                  </a:moveTo>
                  <a:lnTo>
                    <a:pt x="4114017" y="2742678"/>
                  </a:lnTo>
                  <a:lnTo>
                    <a:pt x="3291214" y="2742678"/>
                  </a:lnTo>
                  <a:cubicBezTo>
                    <a:pt x="2950156" y="2742678"/>
                    <a:pt x="2790929" y="2953458"/>
                    <a:pt x="2742678" y="3291213"/>
                  </a:cubicBezTo>
                  <a:lnTo>
                    <a:pt x="2331276" y="5485355"/>
                  </a:lnTo>
                  <a:lnTo>
                    <a:pt x="0" y="5485355"/>
                  </a:lnTo>
                  <a:lnTo>
                    <a:pt x="0" y="6856694"/>
                  </a:lnTo>
                  <a:lnTo>
                    <a:pt x="13713389" y="6856694"/>
                  </a:lnTo>
                  <a:lnTo>
                    <a:pt x="13713389" y="5485355"/>
                  </a:lnTo>
                  <a:lnTo>
                    <a:pt x="11382113" y="5485355"/>
                  </a:lnTo>
                  <a:lnTo>
                    <a:pt x="10970711" y="3291213"/>
                  </a:lnTo>
                  <a:cubicBezTo>
                    <a:pt x="10920810" y="2955108"/>
                    <a:pt x="10761836" y="2742678"/>
                    <a:pt x="10422175" y="2742678"/>
                  </a:cubicBezTo>
                  <a:lnTo>
                    <a:pt x="9599372" y="2742678"/>
                  </a:lnTo>
                  <a:lnTo>
                    <a:pt x="9599372" y="1371339"/>
                  </a:lnTo>
                  <a:cubicBezTo>
                    <a:pt x="9599372" y="613969"/>
                    <a:pt x="8985403" y="0"/>
                    <a:pt x="8228034" y="0"/>
                  </a:cubicBezTo>
                  <a:lnTo>
                    <a:pt x="5485356" y="0"/>
                  </a:lnTo>
                  <a:cubicBezTo>
                    <a:pt x="4727986" y="0"/>
                    <a:pt x="4114017" y="613969"/>
                    <a:pt x="4114017" y="1371339"/>
                  </a:cubicBezTo>
                  <a:close/>
                </a:path>
              </a:pathLst>
            </a:custGeom>
            <a:solidFill>
              <a:schemeClr val="accent5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</p:spTree>
    <p:extLst>
      <p:ext uri="{BB962C8B-B14F-4D97-AF65-F5344CB8AC3E}">
        <p14:creationId xmlns:p14="http://schemas.microsoft.com/office/powerpoint/2010/main" val="300947483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AD729CF4-7A00-401B-8990-F66A5AD157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201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200" y="3412386"/>
            <a:ext cx="15379199" cy="242352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6"/>
            <a:ext cx="10682289" cy="68566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Stående form 7">
            <a:extLst>
              <a:ext uri="{FF2B5EF4-FFF2-40B4-BE49-F238E27FC236}">
                <a16:creationId xmlns:a16="http://schemas.microsoft.com/office/drawing/2014/main" id="{0B100AB0-C6E9-4ACC-B698-908B03EB0E50}"/>
              </a:ext>
            </a:extLst>
          </p:cNvPr>
          <p:cNvGrpSpPr/>
          <p:nvPr userDrawn="1"/>
        </p:nvGrpSpPr>
        <p:grpSpPr>
          <a:xfrm rot="5400000">
            <a:off x="14095413" y="3429001"/>
            <a:ext cx="6858000" cy="13715999"/>
            <a:chOff x="17535986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9526D040-5D71-4075-A231-A9829EC5E261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B2053F79-A72B-4C26-86D2-37DCE52C407D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800"/>
            </a:p>
          </p:txBody>
        </p:sp>
      </p:grpSp>
    </p:spTree>
    <p:extLst>
      <p:ext uri="{BB962C8B-B14F-4D97-AF65-F5344CB8AC3E}">
        <p14:creationId xmlns:p14="http://schemas.microsoft.com/office/powerpoint/2010/main" val="248941260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B0C8DC78-72E8-4A17-AEF7-1982FBFB4B3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201" y="10170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200" y="3412386"/>
            <a:ext cx="15379199" cy="242352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skrive inn avslutn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7768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A433FB-6E3F-4D69-8483-09A36F578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64A716A5-F8C8-45A8-820A-92EF855ADE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5BE96FA-99F6-4BFF-8EC7-1EDDFF9F20C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B6A79C-81AB-4F4D-94CD-2C096867A4A1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4088F38-B4A4-4975-B8CF-DE892AA173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</p:spTree>
    <p:extLst>
      <p:ext uri="{BB962C8B-B14F-4D97-AF65-F5344CB8AC3E}">
        <p14:creationId xmlns:p14="http://schemas.microsoft.com/office/powerpoint/2010/main" val="1612868016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7DA1664-57A6-4C09-9BBF-0EBF03A6F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7DA1664-57A6-4C09-9BBF-0EBF03A6F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konvolutt, brevhode, visittkort&#10;&#10;Automatisk generert beskrivelse">
            <a:extLst>
              <a:ext uri="{FF2B5EF4-FFF2-40B4-BE49-F238E27FC236}">
                <a16:creationId xmlns:a16="http://schemas.microsoft.com/office/drawing/2014/main" id="{693834F5-AA7D-46E3-84BA-E6BD0E8D9E5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7680251"/>
      </p:ext>
    </p:extLst>
  </p:cSld>
  <p:clrMapOvr>
    <a:masterClrMapping/>
  </p:clrMapOvr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7572113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B0C8DC78-72E8-4A17-AEF7-1982FBFB4B3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skrive inn avslutn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62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0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97736504-E7DD-4A55-AD76-DBDEE313D1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348E8C4-06B1-451E-8501-B279D67D22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7D1C515-B1B6-450E-820D-6154AAA30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69446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549CD4C-09AE-49D6-AF86-C6BAC6D53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D0935C-D3AE-4A17-8C4C-476860DE3A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291" y="3651250"/>
            <a:ext cx="10362526" cy="870267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3E740CD-76ED-4AFB-895D-900476721E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3596" y="3651250"/>
            <a:ext cx="10362526" cy="870267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6E7ACD8-8718-4503-9B57-49B2227D4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7DEC3C5-45D8-418E-8817-B3299F7E5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56E53FC-DB0F-4854-9274-260E6D5C4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39980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7534111"/>
      </p:ext>
    </p:extLst>
  </p:cSld>
  <p:clrMapOvr>
    <a:masterClrMapping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grpSp>
        <p:nvGrpSpPr>
          <p:cNvPr id="6" name="Stående form 7">
            <a:extLst>
              <a:ext uri="{FF2B5EF4-FFF2-40B4-BE49-F238E27FC236}">
                <a16:creationId xmlns:a16="http://schemas.microsoft.com/office/drawing/2014/main" id="{BD6836DC-10F4-4BDA-85FB-0AB85EDD5878}"/>
              </a:ext>
            </a:extLst>
          </p:cNvPr>
          <p:cNvGrpSpPr/>
          <p:nvPr/>
        </p:nvGrpSpPr>
        <p:grpSpPr>
          <a:xfrm>
            <a:off x="17524411" y="0"/>
            <a:ext cx="6858000" cy="13716000"/>
            <a:chOff x="17535986" y="0"/>
            <a:chExt cx="6858000" cy="13716000"/>
          </a:xfrm>
        </p:grpSpPr>
        <p:sp>
          <p:nvSpPr>
            <p:cNvPr id="7" name="bakgrunn">
              <a:extLst>
                <a:ext uri="{FF2B5EF4-FFF2-40B4-BE49-F238E27FC236}">
                  <a16:creationId xmlns:a16="http://schemas.microsoft.com/office/drawing/2014/main" id="{7B700173-06DB-46FE-9A3C-F181CDAE5143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rgbClr val="A0D2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orgrunn">
              <a:extLst>
                <a:ext uri="{FF2B5EF4-FFF2-40B4-BE49-F238E27FC236}">
                  <a16:creationId xmlns:a16="http://schemas.microsoft.com/office/drawing/2014/main" id="{C44EDABC-D226-4186-BC4A-2386F72CBF4A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rgbClr val="3C78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9305429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1036" userDrawn="1">
          <p15:clr>
            <a:srgbClr val="9FCC3B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C6D3E47-6C08-4F2A-848C-4E3D4A7B4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68" y="914400"/>
            <a:ext cx="7863962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4EDE496-CA22-498A-84AD-A8D9F434C5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F28F5162-E260-488E-9F16-A607BCA120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00B7DEF-6EE1-49A3-8487-207CB23527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31E1E77-2761-4802-9A9F-77A06A7F1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8550090-43AD-4804-BC01-17D2445B1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1618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714691-DD9B-441B-BC4D-4548495DC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68" y="914400"/>
            <a:ext cx="7863962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A9365C51-AF96-49A6-BDF7-4E7A486379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F1CC5EFB-18D5-481C-AFA6-C2134160D9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5B14CE25-83E8-4C09-8C40-CC24C065C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00BAA-C3AC-4A69-840F-B434A2402870}" type="datetimeFigureOut">
              <a:rPr lang="nb-NO" smtClean="0"/>
              <a:t>19.04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8EE0148-5F77-4FA6-9D68-B60364C3B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0983F7E-C691-4EB8-AF73-52265309F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7093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image" Target="../media/image4.sv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image" Target="../media/image4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6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ags" Target="../tags/tag9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4.sv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0A44B93-9005-4C30-973F-69C34D613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291" y="730251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10E392E-FB96-4CAE-A107-111342DC7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291" y="3651250"/>
            <a:ext cx="21029831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2996446-D840-4557-8D21-6DDAF137DE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291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500BAA-C3AC-4A69-840F-B434A2402870}" type="datetimeFigureOut">
              <a:rPr lang="nb-NO" smtClean="0"/>
              <a:t>18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DEC1285-3A1D-4C8A-B730-C193C52FD8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6675" y="12712701"/>
            <a:ext cx="8229064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474D716-823F-4E7A-80FC-7BAD5A368B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0079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6732F3-75AE-451B-8367-9A95A602A3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1021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849" r:id="rId12"/>
  </p:sldLayoutIdLst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BAE07A7-9636-4735-A608-44AEF1074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421421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95" imgH="396" progId="TCLayout.ActiveDocument.1">
                  <p:embed/>
                </p:oleObj>
              </mc:Choice>
              <mc:Fallback>
                <p:oleObj name="think-cell Slide" r:id="rId40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BAE07A7-9636-4735-A608-44AEF1074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k 14">
            <a:extLst>
              <a:ext uri="{FF2B5EF4-FFF2-40B4-BE49-F238E27FC236}">
                <a16:creationId xmlns:a16="http://schemas.microsoft.com/office/drawing/2014/main" id="{3CC62ABC-6F05-4B52-A41F-AF451D41F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925344" y="1017010"/>
            <a:ext cx="2522218" cy="692724"/>
          </a:xfrm>
          <a:prstGeom prst="rect">
            <a:avLst/>
          </a:prstGeom>
        </p:spPr>
      </p:pic>
      <p:sp>
        <p:nvSpPr>
          <p:cNvPr id="14" name="ToolsToo_Slide" descr="ToolsToo_Slide">
            <a:extLst>
              <a:ext uri="{FF2B5EF4-FFF2-40B4-BE49-F238E27FC236}">
                <a16:creationId xmlns:a16="http://schemas.microsoft.com/office/drawing/2014/main" id="{CCFB0DC5-21B6-45D5-B1DC-1E5BDE119AEC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5344" y="2559050"/>
            <a:ext cx="22531725" cy="10844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344" y="3980259"/>
            <a:ext cx="22531725" cy="8301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Klikk for andre nivå</a:t>
            </a:r>
          </a:p>
          <a:p>
            <a:pPr lvl="2"/>
            <a:r>
              <a:rPr lang="nb-NO"/>
              <a:t>Klikk for 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511" y="12442191"/>
            <a:ext cx="477839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5F4300FF-D0AD-48FA-AD26-7679CEC8B7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87600" y="12442191"/>
            <a:ext cx="1357200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lang="nb-NO" smtClean="0"/>
            </a:lvl1pPr>
          </a:lstStyle>
          <a:p>
            <a:fld id="{B4B6A79C-81AB-4F4D-94CD-2C096867A4A1}" type="datetime1">
              <a:rPr lang="nb-NO" smtClean="0"/>
              <a:t>18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9B4E5F6F-A453-47FC-856E-A87FF67C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9048" y="12442191"/>
            <a:ext cx="13368227" cy="73025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 algn="l">
              <a:defRPr lang="nb-NO" cap="all" baseline="0"/>
            </a:lvl1pPr>
          </a:lstStyle>
          <a:p>
            <a:r>
              <a:rPr lang="nb-NO"/>
              <a:t>Lillestrøm kommune: tillit inkludering nyskaping</a:t>
            </a:r>
          </a:p>
        </p:txBody>
      </p:sp>
    </p:spTree>
    <p:extLst>
      <p:ext uri="{BB962C8B-B14F-4D97-AF65-F5344CB8AC3E}">
        <p14:creationId xmlns:p14="http://schemas.microsoft.com/office/powerpoint/2010/main" val="87393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850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  <p:sldLayoutId id="2147483750" r:id="rId26"/>
    <p:sldLayoutId id="2147483751" r:id="rId27"/>
    <p:sldLayoutId id="2147483752" r:id="rId28"/>
    <p:sldLayoutId id="2147483753" r:id="rId29"/>
    <p:sldLayoutId id="2147483754" r:id="rId30"/>
    <p:sldLayoutId id="2147483759" r:id="rId31"/>
    <p:sldLayoutId id="2147483760" r:id="rId32"/>
    <p:sldLayoutId id="2147483761" r:id="rId33"/>
    <p:sldLayoutId id="2147483762" r:id="rId34"/>
    <p:sldLayoutId id="2147483763" r:id="rId35"/>
    <p:sldLayoutId id="2147483764" r:id="rId36"/>
    <p:sldLayoutId id="2147483851" r:id="rId37"/>
  </p:sldLayoutIdLst>
  <p:hf hdr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7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788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04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640">
          <p15:clr>
            <a:srgbClr val="F26B43"/>
          </p15:clr>
        </p15:guide>
        <p15:guide id="3" pos="4958">
          <p15:clr>
            <a:srgbClr val="F26B43"/>
          </p15:clr>
        </p15:guide>
        <p15:guide id="4" pos="5519">
          <p15:clr>
            <a:srgbClr val="F26B43"/>
          </p15:clr>
        </p15:guide>
        <p15:guide id="5" pos="9838">
          <p15:clr>
            <a:srgbClr val="F26B43"/>
          </p15:clr>
        </p15:guide>
        <p15:guide id="6" pos="10399">
          <p15:clr>
            <a:srgbClr val="F26B43"/>
          </p15:clr>
        </p15:guide>
        <p15:guide id="7" pos="1471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BAE07A7-9636-4735-A608-44AEF1074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1421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BAE07A7-9636-4735-A608-44AEF1074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k 14">
            <a:extLst>
              <a:ext uri="{FF2B5EF4-FFF2-40B4-BE49-F238E27FC236}">
                <a16:creationId xmlns:a16="http://schemas.microsoft.com/office/drawing/2014/main" id="{3CC62ABC-6F05-4B52-A41F-AF451D41F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25345" y="1017010"/>
            <a:ext cx="2522218" cy="692724"/>
          </a:xfrm>
          <a:prstGeom prst="rect">
            <a:avLst/>
          </a:prstGeom>
        </p:spPr>
      </p:pic>
      <p:sp>
        <p:nvSpPr>
          <p:cNvPr id="14" name="ToolsToo_Slide" descr="ToolsToo_Slide">
            <a:extLst>
              <a:ext uri="{FF2B5EF4-FFF2-40B4-BE49-F238E27FC236}">
                <a16:creationId xmlns:a16="http://schemas.microsoft.com/office/drawing/2014/main" id="{CCFB0DC5-21B6-45D5-B1DC-1E5BDE119AEC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5344" y="2559051"/>
            <a:ext cx="22531725" cy="10844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344" y="3980260"/>
            <a:ext cx="22531725" cy="8301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Klikk for andre nivå</a:t>
            </a:r>
          </a:p>
          <a:p>
            <a:pPr lvl="2"/>
            <a:r>
              <a:rPr lang="nb-NO"/>
              <a:t>Klikk for 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513" y="12442193"/>
            <a:ext cx="477839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5F4300FF-D0AD-48FA-AD26-7679CEC8B7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87599" y="12442193"/>
            <a:ext cx="1357200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lang="nb-NO" smtClean="0"/>
            </a:lvl1pPr>
          </a:lstStyle>
          <a:p>
            <a:fld id="{B4B6A79C-81AB-4F4D-94CD-2C096867A4A1}" type="datetime1">
              <a:rPr lang="nb-NO" smtClean="0"/>
              <a:t>18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9B4E5F6F-A453-47FC-856E-A87FF67C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9048" y="12442193"/>
            <a:ext cx="13368228" cy="73025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 algn="l">
              <a:defRPr lang="nb-NO" cap="all" baseline="0"/>
            </a:lvl1pPr>
          </a:lstStyle>
          <a:p>
            <a:r>
              <a:rPr lang="nb-NO"/>
              <a:t>Lillestrøm kommune: tillit inkludering nyskaping</a:t>
            </a:r>
          </a:p>
        </p:txBody>
      </p:sp>
    </p:spTree>
    <p:extLst>
      <p:ext uri="{BB962C8B-B14F-4D97-AF65-F5344CB8AC3E}">
        <p14:creationId xmlns:p14="http://schemas.microsoft.com/office/powerpoint/2010/main" val="137089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</p:sldLayoutIdLst>
  <p:hf hdr="0"/>
  <p:txStyles>
    <p:titleStyle>
      <a:lvl1pPr algn="l" defTabSz="1828619" rtl="0" eaLnBrk="1" latinLnBrk="0" hangingPunct="1">
        <a:lnSpc>
          <a:spcPct val="90000"/>
        </a:lnSpc>
        <a:spcBef>
          <a:spcPct val="0"/>
        </a:spcBef>
        <a:buNone/>
        <a:defRPr sz="7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386" indent="-284386" algn="l" defTabSz="182861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788361" indent="-284386" algn="l" defTabSz="182861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03930" indent="-284386" algn="l" defTabSz="182861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1979901" indent="-284386" algn="l" defTabSz="182861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4pPr>
      <a:lvl5pPr marL="2699865" indent="-284386" algn="l" defTabSz="182861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640">
          <p15:clr>
            <a:srgbClr val="F26B43"/>
          </p15:clr>
        </p15:guide>
        <p15:guide id="3" pos="4958">
          <p15:clr>
            <a:srgbClr val="F26B43"/>
          </p15:clr>
        </p15:guide>
        <p15:guide id="4" pos="5519">
          <p15:clr>
            <a:srgbClr val="F26B43"/>
          </p15:clr>
        </p15:guide>
        <p15:guide id="5" pos="9838">
          <p15:clr>
            <a:srgbClr val="F26B43"/>
          </p15:clr>
        </p15:guide>
        <p15:guide id="6" pos="10399">
          <p15:clr>
            <a:srgbClr val="F26B43"/>
          </p15:clr>
        </p15:guide>
        <p15:guide id="7" pos="1471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BAE07A7-9636-4735-A608-44AEF1074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BAE07A7-9636-4735-A608-44AEF1074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k 14">
            <a:extLst>
              <a:ext uri="{FF2B5EF4-FFF2-40B4-BE49-F238E27FC236}">
                <a16:creationId xmlns:a16="http://schemas.microsoft.com/office/drawing/2014/main" id="{3CC62ABC-6F05-4B52-A41F-AF451D41F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5344" y="1017010"/>
            <a:ext cx="2522218" cy="692724"/>
          </a:xfrm>
          <a:prstGeom prst="rect">
            <a:avLst/>
          </a:prstGeom>
        </p:spPr>
      </p:pic>
      <p:sp>
        <p:nvSpPr>
          <p:cNvPr id="14" name="ToolsToo_Slide" descr="ToolsToo_Slide">
            <a:extLst>
              <a:ext uri="{FF2B5EF4-FFF2-40B4-BE49-F238E27FC236}">
                <a16:creationId xmlns:a16="http://schemas.microsoft.com/office/drawing/2014/main" id="{CCFB0DC5-21B6-45D5-B1DC-1E5BDE119AEC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5344" y="2559050"/>
            <a:ext cx="22531725" cy="10844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344" y="3980259"/>
            <a:ext cx="22531725" cy="8301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Klikk for andre nivå</a:t>
            </a:r>
          </a:p>
          <a:p>
            <a:pPr lvl="2"/>
            <a:r>
              <a:rPr lang="nb-NO"/>
              <a:t>Klikk for 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511" y="12442191"/>
            <a:ext cx="477839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5F4300FF-D0AD-48FA-AD26-7679CEC8B7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87600" y="12442191"/>
            <a:ext cx="1357200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lang="nb-NO" smtClean="0"/>
            </a:lvl1pPr>
          </a:lstStyle>
          <a:p>
            <a:fld id="{B4B6A79C-81AB-4F4D-94CD-2C096867A4A1}" type="datetime1">
              <a:rPr lang="nb-NO" smtClean="0"/>
              <a:t>18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9B4E5F6F-A453-47FC-856E-A87FF67C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9048" y="12442191"/>
            <a:ext cx="13368227" cy="73025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 algn="l">
              <a:defRPr lang="nb-NO" cap="all" baseline="0"/>
            </a:lvl1pPr>
          </a:lstStyle>
          <a:p>
            <a:r>
              <a:rPr lang="nb-NO"/>
              <a:t>Lillestrøm kommune: tillit inkludering nyskaping</a:t>
            </a:r>
          </a:p>
        </p:txBody>
      </p:sp>
    </p:spTree>
    <p:extLst>
      <p:ext uri="{BB962C8B-B14F-4D97-AF65-F5344CB8AC3E}">
        <p14:creationId xmlns:p14="http://schemas.microsoft.com/office/powerpoint/2010/main" val="87393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7" r:id="rId2"/>
    <p:sldLayoutId id="2147483861" r:id="rId3"/>
    <p:sldLayoutId id="2147483862" r:id="rId4"/>
  </p:sldLayoutIdLst>
  <p:hf hdr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7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788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04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640">
          <p15:clr>
            <a:srgbClr val="F26B43"/>
          </p15:clr>
        </p15:guide>
        <p15:guide id="3" pos="4958">
          <p15:clr>
            <a:srgbClr val="F26B43"/>
          </p15:clr>
        </p15:guide>
        <p15:guide id="4" pos="5519">
          <p15:clr>
            <a:srgbClr val="F26B43"/>
          </p15:clr>
        </p15:guide>
        <p15:guide id="5" pos="9838">
          <p15:clr>
            <a:srgbClr val="F26B43"/>
          </p15:clr>
        </p15:guide>
        <p15:guide id="6" pos="10399">
          <p15:clr>
            <a:srgbClr val="F26B43"/>
          </p15:clr>
        </p15:guide>
        <p15:guide id="7" pos="1471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BAE07A7-9636-4735-A608-44AEF1074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BAE07A7-9636-4735-A608-44AEF1074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k 14">
            <a:extLst>
              <a:ext uri="{FF2B5EF4-FFF2-40B4-BE49-F238E27FC236}">
                <a16:creationId xmlns:a16="http://schemas.microsoft.com/office/drawing/2014/main" id="{3CC62ABC-6F05-4B52-A41F-AF451D41F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5344" y="1017010"/>
            <a:ext cx="2522218" cy="692724"/>
          </a:xfrm>
          <a:prstGeom prst="rect">
            <a:avLst/>
          </a:prstGeom>
        </p:spPr>
      </p:pic>
      <p:sp>
        <p:nvSpPr>
          <p:cNvPr id="14" name="ToolsToo_Slide" descr="ToolsToo_Slide">
            <a:extLst>
              <a:ext uri="{FF2B5EF4-FFF2-40B4-BE49-F238E27FC236}">
                <a16:creationId xmlns:a16="http://schemas.microsoft.com/office/drawing/2014/main" id="{CCFB0DC5-21B6-45D5-B1DC-1E5BDE119AEC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5344" y="2559050"/>
            <a:ext cx="22531725" cy="10844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344" y="3980259"/>
            <a:ext cx="22531725" cy="8301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Klikk for andre nivå</a:t>
            </a:r>
          </a:p>
          <a:p>
            <a:pPr lvl="2"/>
            <a:r>
              <a:rPr lang="nb-NO"/>
              <a:t>Klikk for 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511" y="12442191"/>
            <a:ext cx="477839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5F4300FF-D0AD-48FA-AD26-7679CEC8B7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87600" y="12442191"/>
            <a:ext cx="1357200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lang="nb-NO" smtClean="0"/>
            </a:lvl1pPr>
          </a:lstStyle>
          <a:p>
            <a:fld id="{B4B6A79C-81AB-4F4D-94CD-2C096867A4A1}" type="datetime1">
              <a:rPr lang="nb-NO" smtClean="0"/>
              <a:t>18.04.2026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9B4E5F6F-A453-47FC-856E-A87FF67C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9048" y="12442191"/>
            <a:ext cx="13368227" cy="73025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 algn="l">
              <a:defRPr lang="nb-NO" cap="all" baseline="0"/>
            </a:lvl1pPr>
          </a:lstStyle>
          <a:p>
            <a:r>
              <a:rPr lang="nb-NO"/>
              <a:t>Lillestrøm kommune: tillit inkludering nyskaping</a:t>
            </a:r>
          </a:p>
        </p:txBody>
      </p:sp>
    </p:spTree>
    <p:extLst>
      <p:ext uri="{BB962C8B-B14F-4D97-AF65-F5344CB8AC3E}">
        <p14:creationId xmlns:p14="http://schemas.microsoft.com/office/powerpoint/2010/main" val="190361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5" r:id="rId2"/>
  </p:sldLayoutIdLst>
  <p:hf hdr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7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788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04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640" userDrawn="1">
          <p15:clr>
            <a:srgbClr val="F26B43"/>
          </p15:clr>
        </p15:guide>
        <p15:guide id="3" pos="4958" userDrawn="1">
          <p15:clr>
            <a:srgbClr val="F26B43"/>
          </p15:clr>
        </p15:guide>
        <p15:guide id="4" pos="5519" userDrawn="1">
          <p15:clr>
            <a:srgbClr val="F26B43"/>
          </p15:clr>
        </p15:guide>
        <p15:guide id="5" pos="9838" userDrawn="1">
          <p15:clr>
            <a:srgbClr val="F26B43"/>
          </p15:clr>
        </p15:guide>
        <p15:guide id="6" pos="10399" userDrawn="1">
          <p15:clr>
            <a:srgbClr val="F26B43"/>
          </p15:clr>
        </p15:guide>
        <p15:guide id="7" pos="147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elisabet.eide-fallet@lillestr&#248;m@kommune.no" TargetMode="External"/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2DCDE9-4944-7747-B3F7-B9BD41224F0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08038" y="1847088"/>
            <a:ext cx="10650748" cy="678332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nb-NO" sz="7200" b="1" dirty="0">
                <a:solidFill>
                  <a:schemeClr val="bg1"/>
                </a:solidFill>
              </a:rPr>
              <a:t>Digitale bookingløsninger i psykisk helse og avhengighet: mer enn bare timebestilling</a:t>
            </a:r>
            <a:r>
              <a:rPr lang="nb-NO" sz="4000" b="1" dirty="0">
                <a:solidFill>
                  <a:schemeClr val="bg1"/>
                </a:solidFill>
              </a:rPr>
              <a:t>	  </a:t>
            </a:r>
          </a:p>
          <a:p>
            <a:pPr marL="0" indent="0">
              <a:buNone/>
            </a:pPr>
            <a:r>
              <a:rPr lang="nb-NO" sz="4000" dirty="0">
                <a:solidFill>
                  <a:schemeClr val="bg1"/>
                </a:solidFill>
              </a:rPr>
              <a:t>	</a:t>
            </a:r>
            <a:endParaRPr lang="nb-NO" sz="4000" dirty="0">
              <a:solidFill>
                <a:schemeClr val="bg1"/>
              </a:solidFill>
              <a:ea typeface="Calibri"/>
              <a:cs typeface="Calibri"/>
            </a:endParaRPr>
          </a:p>
          <a:p>
            <a:pPr marL="0" indent="0">
              <a:buNone/>
            </a:pPr>
            <a:endParaRPr lang="nb-NO" sz="4800" b="1" dirty="0">
              <a:solidFill>
                <a:schemeClr val="bg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28A70-29A8-B746-8486-5720D8BDA8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191206" y="310896"/>
            <a:ext cx="11802650" cy="13075920"/>
          </a:xfrm>
        </p:spPr>
        <p:txBody>
          <a:bodyPr/>
          <a:lstStyle/>
          <a:p>
            <a:endParaRPr lang="nb-NO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9B66D65-EEF5-281A-C79C-0323D8D98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42" y="5960785"/>
            <a:ext cx="8964861" cy="742603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454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B608346D-4FA2-73A8-BD70-FFDBE29461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92898" y="3643532"/>
            <a:ext cx="10326029" cy="9001951"/>
          </a:xfrm>
        </p:spPr>
      </p:pic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36E1770-0588-4566-59A8-4B3F4D566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1CA64F6-EEBA-735C-5462-9F89B4C15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085F139-2B2C-83AB-7151-4235AC34C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589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9BB7381E-57DC-3A81-7F51-F660B5B846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43330" y="2211573"/>
            <a:ext cx="11461897" cy="9420446"/>
          </a:xfrm>
        </p:spPr>
      </p:pic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BFE825F-6F96-5A50-CED6-3F39E6DF53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8A65730-0B60-FC78-62F3-7F15E42CB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C79A2AC-6534-5EE4-0C53-829F4C43A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80909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9B1F4198-166C-9118-6201-11543D5DE4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7A7786A0-4BD0-1E71-4282-8C26A04D6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195" y="882692"/>
            <a:ext cx="22531725" cy="1084482"/>
          </a:xfrm>
        </p:spPr>
        <p:txBody>
          <a:bodyPr/>
          <a:lstStyle/>
          <a:p>
            <a:r>
              <a:rPr lang="nb-NO"/>
              <a:t>Oversikt over book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4BEC83C-8DF4-D6B9-D115-4ECCD35E20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87600" y="12543820"/>
            <a:ext cx="1357200" cy="730250"/>
          </a:xfrm>
        </p:spPr>
        <p:txBody>
          <a:bodyPr/>
          <a:lstStyle/>
          <a:p>
            <a:fld id="{74FDB352-00F1-4EEB-92CF-6618CFEC6EB8}" type="datetime1">
              <a:rPr lang="nb-NO" smtClean="0"/>
              <a:pPr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AE316E7-EE11-C0C4-6886-EF3100C6C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29050" y="12700029"/>
            <a:ext cx="13368227" cy="730250"/>
          </a:xfrm>
        </p:spPr>
        <p:txBody>
          <a:bodyPr/>
          <a:lstStyle/>
          <a:p>
            <a:r>
              <a:rPr lang="nb-NO"/>
              <a:t>Lillestrøm kommune: tillit inkludering nyskaping</a:t>
            </a:r>
          </a:p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87F023-CC5A-7364-A196-6A43F8F1E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12</a:t>
            </a:fld>
            <a:endParaRPr lang="nb-NO"/>
          </a:p>
        </p:txBody>
      </p:sp>
      <p:pic>
        <p:nvPicPr>
          <p:cNvPr id="7" name="Bilde 6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B08EE430-742B-C83E-CAA2-052331CF1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25012"/>
            <a:ext cx="23899844" cy="10217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7593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9826B5E1-0ACC-1F09-F9D0-9EC396D4F9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276" y="2487168"/>
            <a:ext cx="15378869" cy="8633232"/>
          </a:xfrm>
        </p:spPr>
        <p:txBody>
          <a:bodyPr vert="horz" lIns="91434" tIns="45717" rIns="91434" bIns="45717" rtlCol="0" anchor="t">
            <a:noAutofit/>
          </a:bodyPr>
          <a:lstStyle/>
          <a:p>
            <a:pPr marL="0" indent="0">
              <a:buNone/>
            </a:pPr>
            <a:r>
              <a:rPr lang="nb-NO" b="1" kern="0" dirty="0"/>
              <a:t>Antall bookinger </a:t>
            </a:r>
            <a:r>
              <a:rPr lang="nb-NO" b="1" kern="0" dirty="0" err="1"/>
              <a:t>Drop</a:t>
            </a:r>
            <a:r>
              <a:rPr lang="nb-NO" b="1" kern="0" dirty="0"/>
              <a:t>-in: 2053 avtaler </a:t>
            </a:r>
            <a:endParaRPr lang="nb-NO" b="1" kern="0" dirty="0">
              <a:cs typeface="Arial"/>
            </a:endParaRPr>
          </a:p>
          <a:p>
            <a:pPr marL="0" indent="0">
              <a:spcAft>
                <a:spcPts val="1600"/>
              </a:spcAft>
              <a:buNone/>
            </a:pPr>
            <a:r>
              <a:rPr lang="nb-NO" kern="0" dirty="0" err="1"/>
              <a:t>Ca</a:t>
            </a:r>
            <a:r>
              <a:rPr lang="nb-NO" kern="0" dirty="0"/>
              <a:t> 80% av </a:t>
            </a:r>
            <a:r>
              <a:rPr lang="nb-NO" kern="0" dirty="0" err="1"/>
              <a:t>bookbare</a:t>
            </a:r>
            <a:r>
              <a:rPr lang="nb-NO" kern="0" dirty="0"/>
              <a:t> timer bookes (Mars 2026: 93%)</a:t>
            </a:r>
            <a:br>
              <a:rPr lang="nb-NO" kern="0" dirty="0"/>
            </a:br>
            <a:r>
              <a:rPr lang="nb-NO" kern="0" dirty="0"/>
              <a:t>Fysisk oppmøte: 75% </a:t>
            </a:r>
            <a:br>
              <a:rPr lang="nb-NO" kern="0" dirty="0"/>
            </a:br>
            <a:r>
              <a:rPr lang="nb-NO" kern="0" dirty="0" err="1"/>
              <a:t>Drop</a:t>
            </a:r>
            <a:r>
              <a:rPr lang="nb-NO" kern="0" dirty="0"/>
              <a:t>-in-timer på telefon: 15%</a:t>
            </a:r>
            <a:br>
              <a:rPr lang="nb-NO" kern="0" dirty="0"/>
            </a:br>
            <a:r>
              <a:rPr lang="nb-NO" kern="0" dirty="0"/>
              <a:t>Video: 8% </a:t>
            </a:r>
            <a:br>
              <a:rPr lang="nb-NO" kern="0" dirty="0"/>
            </a:br>
            <a:endParaRPr lang="nb-NO" kern="0" dirty="0"/>
          </a:p>
          <a:p>
            <a:pPr marL="0" indent="0">
              <a:spcAft>
                <a:spcPts val="1600"/>
              </a:spcAft>
              <a:buNone/>
            </a:pPr>
            <a:r>
              <a:rPr lang="nb-NO" kern="0" dirty="0"/>
              <a:t>Droppet innom uten å booke: 44 </a:t>
            </a:r>
            <a:r>
              <a:rPr lang="nb-NO" kern="0" dirty="0" err="1"/>
              <a:t>stk</a:t>
            </a:r>
            <a:r>
              <a:rPr lang="nb-NO" kern="0" dirty="0"/>
              <a:t> i 2024-2025 (2,7%)</a:t>
            </a:r>
            <a:endParaRPr lang="nb-NO" kern="0" dirty="0">
              <a:cs typeface="Arial"/>
            </a:endParaRPr>
          </a:p>
          <a:p>
            <a:pPr marL="0" indent="0">
              <a:spcAft>
                <a:spcPts val="1600"/>
              </a:spcAft>
              <a:buNone/>
            </a:pPr>
            <a:endParaRPr lang="nb-NO" kern="0" dirty="0">
              <a:ea typeface="Calibri"/>
              <a:cs typeface="Arial"/>
            </a:endParaRPr>
          </a:p>
          <a:p>
            <a:pPr marL="0" indent="0">
              <a:spcAft>
                <a:spcPts val="1600"/>
              </a:spcAft>
              <a:buNone/>
            </a:pPr>
            <a:r>
              <a:rPr lang="nb-NO" kern="0" dirty="0">
                <a:ea typeface="Calibri"/>
                <a:cs typeface="Arial"/>
              </a:rPr>
              <a:t>Ikke møtt: 67 bookinger (3,3%)</a:t>
            </a:r>
            <a:endParaRPr lang="nb-NO" kern="0" dirty="0">
              <a:ea typeface="Calibri" panose="020F0502020204030204" pitchFamily="34" charset="0"/>
              <a:cs typeface="Arial"/>
            </a:endParaRPr>
          </a:p>
          <a:p>
            <a:pPr marL="0" indent="0">
              <a:buNone/>
            </a:pPr>
            <a:endParaRPr lang="nb-NO" b="1" kern="100" dirty="0">
              <a:cs typeface="Arial"/>
            </a:endParaRPr>
          </a:p>
          <a:p>
            <a:pPr marL="0" indent="0">
              <a:buNone/>
            </a:pPr>
            <a:r>
              <a:rPr lang="nb-NO" b="1" kern="100" dirty="0">
                <a:cs typeface="Arial"/>
              </a:rPr>
              <a:t>Problematikk vi oftest møter:</a:t>
            </a:r>
            <a:endParaRPr lang="en-US" kern="100" dirty="0">
              <a:cs typeface="Arial"/>
            </a:endParaRPr>
          </a:p>
          <a:p>
            <a:pPr marL="0" indent="0">
              <a:buNone/>
            </a:pPr>
            <a:r>
              <a:rPr lang="nb-NO" kern="100" dirty="0">
                <a:cs typeface="Arial"/>
              </a:rPr>
              <a:t>bekymring/angst, nedstemthet, stress, sinne, pårørendeproblematikk, samlivsbrudd, traumer</a:t>
            </a:r>
            <a:endParaRPr lang="nb-NO" dirty="0"/>
          </a:p>
          <a:p>
            <a:pPr marL="283196" indent="-283196"/>
            <a:endParaRPr lang="nb-NO" kern="100" dirty="0">
              <a:cs typeface="Arial"/>
            </a:endParaRPr>
          </a:p>
          <a:p>
            <a:pPr marL="0" indent="0">
              <a:buNone/>
            </a:pPr>
            <a:endParaRPr lang="nb-NO" kern="100" dirty="0">
              <a:cs typeface="Arial"/>
            </a:endParaRPr>
          </a:p>
          <a:p>
            <a:pPr marL="283196" indent="-283196"/>
            <a:endParaRPr lang="nb-NO" dirty="0">
              <a:cs typeface="Arial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077E0042-00FD-5C15-6AD3-F772917FA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803" y="676341"/>
            <a:ext cx="13862303" cy="1810827"/>
          </a:xfrm>
        </p:spPr>
        <p:txBody>
          <a:bodyPr/>
          <a:lstStyle/>
          <a:p>
            <a:r>
              <a:rPr lang="nb-NO" sz="5400" b="1" dirty="0"/>
              <a:t>Blir bookingløsningen brukt? </a:t>
            </a:r>
            <a:br>
              <a:rPr lang="nb-NO" sz="5400" b="1" dirty="0"/>
            </a:br>
            <a:r>
              <a:rPr lang="nb-NO" sz="5400" b="1" dirty="0"/>
              <a:t>Fra oppstart 14.10.24 og frem til 31.03.26</a:t>
            </a:r>
            <a:endParaRPr lang="nb-NO" sz="5400" b="1" dirty="0">
              <a:cs typeface="Arial"/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23A7E7B-AC76-E635-7F96-E2C93FF53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177"/>
            <a:fld id="{74FDB352-00F1-4EEB-92CF-6618CFEC6EB8}" type="datetime1">
              <a:rPr lang="nb-NO">
                <a:solidFill>
                  <a:srgbClr val="233264"/>
                </a:solidFill>
                <a:latin typeface="Arial"/>
              </a:rPr>
              <a:pPr defTabSz="457177"/>
              <a:t>19.04.2026</a:t>
            </a:fld>
            <a:endParaRPr lang="nb-NO">
              <a:solidFill>
                <a:srgbClr val="233264"/>
              </a:solidFill>
              <a:latin typeface="Arial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807AD24-E61D-86C1-F050-1BCD08E0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77"/>
            <a:r>
              <a:rPr lang="nb-NO">
                <a:solidFill>
                  <a:srgbClr val="233264"/>
                </a:solidFill>
                <a:latin typeface="Arial"/>
              </a:rPr>
              <a:t>Lillestrøm kommune: tillit inkludering nyskaping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1374F48-5651-B5BC-F0E0-4E0BD6626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77"/>
            <a:fld id="{356FC300-6EA6-4657-9829-8E9817A3066F}" type="slidenum">
              <a:rPr lang="nb-NO">
                <a:solidFill>
                  <a:srgbClr val="233264"/>
                </a:solidFill>
                <a:latin typeface="Arial"/>
              </a:rPr>
              <a:pPr defTabSz="457177"/>
              <a:t>13</a:t>
            </a:fld>
            <a:endParaRPr lang="nb-NO">
              <a:solidFill>
                <a:srgbClr val="23326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217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C4271B-8567-D4DC-7FDD-42649002A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D45960E-1584-0137-CB9F-ACA05FF68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344" y="1980395"/>
            <a:ext cx="18563230" cy="1084482"/>
          </a:xfrm>
        </p:spPr>
        <p:txBody>
          <a:bodyPr anchor="t">
            <a:normAutofit fontScale="90000"/>
          </a:bodyPr>
          <a:lstStyle/>
          <a:p>
            <a:r>
              <a:rPr lang="nb-NO" b="1" dirty="0"/>
              <a:t>Bookingløsning når innbygger har behand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7846EC7-A29B-6FAB-7B28-45E2EE6E0E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291" y="3064878"/>
            <a:ext cx="10362526" cy="928904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b-NO" dirty="0"/>
              <a:t>Jobber med «bookingløsning» til Lavterskel behandling</a:t>
            </a:r>
          </a:p>
          <a:p>
            <a:pPr marL="0" indent="0">
              <a:spcAft>
                <a:spcPts val="600"/>
              </a:spcAft>
              <a:buNone/>
            </a:pPr>
            <a:endParaRPr lang="nb-NO" dirty="0"/>
          </a:p>
          <a:p>
            <a:pPr>
              <a:spcAft>
                <a:spcPts val="600"/>
              </a:spcAft>
            </a:pPr>
            <a:r>
              <a:rPr lang="nb-NO" dirty="0"/>
              <a:t>Intensjon: frigjorte (og ledige) timer i egen kalender blir tilgjengelig for innbyggeren</a:t>
            </a:r>
          </a:p>
          <a:p>
            <a:pPr marL="0" indent="0">
              <a:spcAft>
                <a:spcPts val="600"/>
              </a:spcAft>
              <a:buNone/>
            </a:pPr>
            <a:endParaRPr lang="nb-NO" dirty="0"/>
          </a:p>
          <a:p>
            <a:pPr>
              <a:spcAft>
                <a:spcPts val="600"/>
              </a:spcAft>
            </a:pPr>
            <a:r>
              <a:rPr lang="nb-NO" dirty="0"/>
              <a:t>Tilgang til kalender må aktiveres (og deaktiveres)</a:t>
            </a:r>
          </a:p>
          <a:p>
            <a:pPr>
              <a:spcAft>
                <a:spcPts val="600"/>
              </a:spcAft>
            </a:pPr>
            <a:endParaRPr lang="nb-NO" dirty="0"/>
          </a:p>
          <a:p>
            <a:pPr>
              <a:spcAft>
                <a:spcPts val="600"/>
              </a:spcAft>
            </a:pPr>
            <a:r>
              <a:rPr lang="nb-NO" dirty="0"/>
              <a:t>Lanseres i mai 2026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E93DBFD5-DAC9-28D9-AE53-83BBB80AE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721436" y="3358064"/>
            <a:ext cx="7767138" cy="8702676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77EE4CB-4761-BE16-16E2-BBDDB8D17B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87600" y="12442191"/>
            <a:ext cx="1357200" cy="730250"/>
          </a:xfrm>
        </p:spPr>
        <p:txBody>
          <a:bodyPr anchor="ctr">
            <a:normAutofit/>
          </a:bodyPr>
          <a:lstStyle/>
          <a:p>
            <a:pPr>
              <a:spcAft>
                <a:spcPts val="1200"/>
              </a:spcAft>
            </a:pPr>
            <a:fld id="{74FDB352-00F1-4EEB-92CF-6618CFEC6EB8}" type="datetime1">
              <a:rPr lang="nb-NO" smtClean="0"/>
              <a:pPr>
                <a:spcAft>
                  <a:spcPts val="1200"/>
                </a:spcAft>
              </a:pPr>
              <a:t>19.04.2026</a:t>
            </a:fld>
            <a:endParaRPr lang="nb-NO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E451864-F020-8B08-4E51-DA6FCA845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29048" y="12442191"/>
            <a:ext cx="13368227" cy="730250"/>
          </a:xfrm>
        </p:spPr>
        <p:txBody>
          <a:bodyPr anchor="ctr">
            <a:normAutofit/>
          </a:bodyPr>
          <a:lstStyle/>
          <a:p>
            <a:pPr>
              <a:spcAft>
                <a:spcPts val="1200"/>
              </a:spcAft>
            </a:pPr>
            <a:r>
              <a:rPr lang="nb-NO"/>
              <a:t>Lillestrøm kommune: tillit inkludering nyskaping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AFBAFF-783E-CC8D-18BC-D03AC006F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11" y="12442191"/>
            <a:ext cx="477839" cy="730250"/>
          </a:xfrm>
        </p:spPr>
        <p:txBody>
          <a:bodyPr anchor="ctr">
            <a:normAutofit/>
          </a:bodyPr>
          <a:lstStyle/>
          <a:p>
            <a:pPr>
              <a:spcAft>
                <a:spcPts val="1200"/>
              </a:spcAft>
            </a:pPr>
            <a:fld id="{356FC300-6EA6-4657-9829-8E9817A3066F}" type="slidenum">
              <a:rPr lang="nb-NO" smtClean="0"/>
              <a:pPr>
                <a:spcAft>
                  <a:spcPts val="1200"/>
                </a:spcAft>
              </a:pPr>
              <a:t>14</a:t>
            </a:fld>
            <a:endParaRPr lang="nb-NO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B8514DF-28BD-CCD3-3E30-59DD0CA85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6894" y="0"/>
            <a:ext cx="4195248" cy="992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07473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9B5A0-EA4B-7F83-0D7D-C777B8BF05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196B9BF7-012C-FA22-9A63-3A1B9748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6370" y="758464"/>
            <a:ext cx="20180255" cy="1224436"/>
          </a:xfrm>
        </p:spPr>
        <p:txBody>
          <a:bodyPr anchor="t">
            <a:normAutofit/>
          </a:bodyPr>
          <a:lstStyle>
            <a:defPPr>
              <a:defRPr lang="nb-NO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6000" dirty="0"/>
              <a:t>Gir slike bookingløsninger gevinster?</a:t>
            </a:r>
          </a:p>
        </p:txBody>
      </p:sp>
      <p:graphicFrame>
        <p:nvGraphicFramePr>
          <p:cNvPr id="8" name="Plassholder for innhold 7">
            <a:extLst>
              <a:ext uri="{FF2B5EF4-FFF2-40B4-BE49-F238E27FC236}">
                <a16:creationId xmlns:a16="http://schemas.microsoft.com/office/drawing/2014/main" id="{F63507FB-3A27-177A-E87C-35BDE40B69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46898594"/>
              </p:ext>
            </p:extLst>
          </p:nvPr>
        </p:nvGraphicFramePr>
        <p:xfrm>
          <a:off x="984174" y="4121498"/>
          <a:ext cx="11298636" cy="2801000"/>
        </p:xfrm>
        <a:graphic>
          <a:graphicData uri="http://schemas.openxmlformats.org/drawingml/2006/table">
            <a:tbl>
              <a:tblPr firstRow="1" firstCol="1" bandRow="1"/>
              <a:tblGrid>
                <a:gridCol w="8294516">
                  <a:extLst>
                    <a:ext uri="{9D8B030D-6E8A-4147-A177-3AD203B41FA5}">
                      <a16:colId xmlns:a16="http://schemas.microsoft.com/office/drawing/2014/main" val="601675917"/>
                    </a:ext>
                  </a:extLst>
                </a:gridCol>
                <a:gridCol w="3004120">
                  <a:extLst>
                    <a:ext uri="{9D8B030D-6E8A-4147-A177-3AD203B41FA5}">
                      <a16:colId xmlns:a16="http://schemas.microsoft.com/office/drawing/2014/main" val="292777918"/>
                    </a:ext>
                  </a:extLst>
                </a:gridCol>
              </a:tblGrid>
              <a:tr h="7002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b="1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Administrasjon </a:t>
                      </a:r>
                      <a:r>
                        <a:rPr lang="nb-NO" sz="4000" b="1" kern="100" dirty="0" err="1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Drop</a:t>
                      </a:r>
                      <a:r>
                        <a:rPr lang="nb-NO" sz="4000" b="1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-in</a:t>
                      </a:r>
                      <a:endParaRPr lang="nb-NO" sz="4000" kern="100" dirty="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nb-NO" sz="4000" kern="100" dirty="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1840879"/>
                  </a:ext>
                </a:extLst>
              </a:tr>
              <a:tr h="7002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Administrasjon avtaler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15 min pr 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4987952"/>
                  </a:ext>
                </a:extLst>
              </a:tr>
              <a:tr h="7002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Digital booking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  0 min pr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402612"/>
                  </a:ext>
                </a:extLst>
              </a:tr>
              <a:tr h="7002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Besparelse i tid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 err="1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ca</a:t>
                      </a: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 513 timer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991321"/>
                  </a:ext>
                </a:extLst>
              </a:tr>
            </a:tbl>
          </a:graphicData>
        </a:graphic>
      </p:graphicFrame>
      <p:graphicFrame>
        <p:nvGraphicFramePr>
          <p:cNvPr id="11" name="Tabell 10">
            <a:extLst>
              <a:ext uri="{FF2B5EF4-FFF2-40B4-BE49-F238E27FC236}">
                <a16:creationId xmlns:a16="http://schemas.microsoft.com/office/drawing/2014/main" id="{86DB998E-47A0-296E-E916-613FC6F5FB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571461"/>
              </p:ext>
            </p:extLst>
          </p:nvPr>
        </p:nvGraphicFramePr>
        <p:xfrm>
          <a:off x="911941" y="8337383"/>
          <a:ext cx="11370869" cy="3332480"/>
        </p:xfrm>
        <a:graphic>
          <a:graphicData uri="http://schemas.openxmlformats.org/drawingml/2006/table">
            <a:tbl>
              <a:tblPr firstRow="1" firstCol="1" bandRow="1"/>
              <a:tblGrid>
                <a:gridCol w="8431023">
                  <a:extLst>
                    <a:ext uri="{9D8B030D-6E8A-4147-A177-3AD203B41FA5}">
                      <a16:colId xmlns:a16="http://schemas.microsoft.com/office/drawing/2014/main" val="3157942894"/>
                    </a:ext>
                  </a:extLst>
                </a:gridCol>
                <a:gridCol w="2939846">
                  <a:extLst>
                    <a:ext uri="{9D8B030D-6E8A-4147-A177-3AD203B41FA5}">
                      <a16:colId xmlns:a16="http://schemas.microsoft.com/office/drawing/2014/main" val="3689969143"/>
                    </a:ext>
                  </a:extLst>
                </a:gridCol>
              </a:tblGrid>
              <a:tr h="666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b="1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Behandlingsløp </a:t>
                      </a:r>
                      <a:r>
                        <a:rPr lang="nb-NO" sz="4000" b="1" kern="100" dirty="0" err="1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Drop</a:t>
                      </a:r>
                      <a:r>
                        <a:rPr lang="nb-NO" sz="4000" b="1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-in</a:t>
                      </a:r>
                      <a:endParaRPr lang="nb-NO" sz="4000" kern="100" dirty="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nb-NO" sz="1600" kern="100" dirty="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399548"/>
                  </a:ext>
                </a:extLst>
              </a:tr>
              <a:tr h="666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Individuelt kort løp- fem avtaler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300 min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0043887"/>
                  </a:ext>
                </a:extLst>
              </a:tr>
              <a:tr h="666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 err="1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Drop</a:t>
                      </a: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- in, en avtale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60 min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720980"/>
                  </a:ext>
                </a:extLst>
              </a:tr>
              <a:tr h="666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Besparelse pr klient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240 min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3458399"/>
                  </a:ext>
                </a:extLst>
              </a:tr>
              <a:tr h="666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Besparelse totalt, </a:t>
                      </a:r>
                      <a:r>
                        <a:rPr lang="nb-NO" sz="4000" b="1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forsiktig</a:t>
                      </a: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 anslag</a:t>
                      </a:r>
                      <a:endParaRPr lang="nb-NO" sz="4000" kern="100" dirty="0">
                        <a:solidFill>
                          <a:srgbClr val="FF0000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nb-NO" sz="4000" kern="100" dirty="0" err="1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Ca</a:t>
                      </a:r>
                      <a:r>
                        <a:rPr lang="nb-NO" sz="4000" kern="100" dirty="0">
                          <a:effectLst/>
                          <a:latin typeface="Aptos"/>
                          <a:ea typeface="Aptos" panose="020B0004020202020204" pitchFamily="34" charset="0"/>
                          <a:cs typeface="Times New Roman"/>
                        </a:rPr>
                        <a:t> 4920 t</a:t>
                      </a:r>
                    </a:p>
                  </a:txBody>
                  <a:tcPr marL="68572" marR="685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2624511"/>
                  </a:ext>
                </a:extLst>
              </a:tr>
            </a:tbl>
          </a:graphicData>
        </a:graphic>
      </p:graphicFrame>
      <p:graphicFrame>
        <p:nvGraphicFramePr>
          <p:cNvPr id="13" name="Tabell 12">
            <a:extLst>
              <a:ext uri="{FF2B5EF4-FFF2-40B4-BE49-F238E27FC236}">
                <a16:creationId xmlns:a16="http://schemas.microsoft.com/office/drawing/2014/main" id="{AE4D5866-4477-78EA-8CF7-77DA2340A2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0040039"/>
              </p:ext>
            </p:extLst>
          </p:nvPr>
        </p:nvGraphicFramePr>
        <p:xfrm>
          <a:off x="3996370" y="1865376"/>
          <a:ext cx="17653213" cy="841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53213">
                  <a:extLst>
                    <a:ext uri="{9D8B030D-6E8A-4147-A177-3AD203B41FA5}">
                      <a16:colId xmlns:a16="http://schemas.microsoft.com/office/drawing/2014/main" val="687988612"/>
                    </a:ext>
                  </a:extLst>
                </a:gridCol>
              </a:tblGrid>
              <a:tr h="841238">
                <a:tc>
                  <a:txBody>
                    <a:bodyPr/>
                    <a:lstStyle/>
                    <a:p>
                      <a:r>
                        <a:rPr lang="nb-NO" sz="3600" b="1" cap="none" spc="0" dirty="0">
                          <a:ln w="0"/>
                          <a:solidFill>
                            <a:srgbClr val="00206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</a:rPr>
                        <a:t>Med utgangspunkt i tall per 31.mars 2026: 2053 bookinger i </a:t>
                      </a:r>
                      <a:r>
                        <a:rPr lang="nb-NO" sz="3600" b="1" cap="none" spc="0" dirty="0" err="1">
                          <a:ln w="0"/>
                          <a:solidFill>
                            <a:srgbClr val="00206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</a:rPr>
                        <a:t>Drop</a:t>
                      </a:r>
                      <a:r>
                        <a:rPr lang="nb-NO" sz="3600" b="1" cap="none" spc="0" dirty="0">
                          <a:ln w="0"/>
                          <a:solidFill>
                            <a:srgbClr val="00206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</a:rPr>
                        <a:t>-in</a:t>
                      </a:r>
                      <a:endParaRPr lang="nb-NO" sz="36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8" marR="91428" marT="45715" marB="45715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39596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E841E35-39C9-1B30-68FF-266CA4DDFCC8}"/>
              </a:ext>
            </a:extLst>
          </p:cNvPr>
          <p:cNvSpPr txBox="1"/>
          <p:nvPr/>
        </p:nvSpPr>
        <p:spPr>
          <a:xfrm>
            <a:off x="15566411" y="5350384"/>
            <a:ext cx="8346090" cy="14465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34" tIns="45717" rIns="91434" bIns="45717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nb-NO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4400" b="1" dirty="0">
              <a:cs typeface="Arial"/>
            </a:endParaRPr>
          </a:p>
          <a:p>
            <a:endParaRPr lang="en-US" sz="4400" b="1" dirty="0"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1A5C5-E853-DEC9-5941-32F472AF7AEC}"/>
              </a:ext>
            </a:extLst>
          </p:cNvPr>
          <p:cNvSpPr txBox="1"/>
          <p:nvPr/>
        </p:nvSpPr>
        <p:spPr>
          <a:xfrm>
            <a:off x="15560587" y="8798218"/>
            <a:ext cx="7909885" cy="104644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rtl="0"/>
            <a:r>
              <a:rPr lang="en-US" sz="4400" dirty="0">
                <a:solidFill>
                  <a:srgbClr val="233264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623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82CCEB4D-25DD-A95A-22B7-A0846CC340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5511" y="3328416"/>
            <a:ext cx="15379869" cy="968070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3845" indent="-283845">
              <a:spcAft>
                <a:spcPts val="800"/>
              </a:spcAft>
            </a:pPr>
            <a:r>
              <a:rPr lang="nb-NO" dirty="0"/>
              <a:t>Rask hjelp når behovet er der</a:t>
            </a:r>
            <a:endParaRPr lang="en-US" dirty="0"/>
          </a:p>
          <a:p>
            <a:pPr marL="283845" indent="-283845">
              <a:spcAft>
                <a:spcPts val="800"/>
              </a:spcAft>
            </a:pPr>
            <a:r>
              <a:rPr lang="nb-NO" dirty="0"/>
              <a:t>Redusert ventetid 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Innbyggeren har reell (og større) valgfrihet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Redusert antall </a:t>
            </a:r>
            <a:r>
              <a:rPr lang="nb-NO" dirty="0" err="1"/>
              <a:t>drop-outs</a:t>
            </a:r>
            <a:r>
              <a:rPr lang="nb-NO" dirty="0"/>
              <a:t> 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Sosiale gevinster – sykemelding, familieperspektiv, belastninger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Bedre flyt – unngår unødvendige byråkratiske prosesser 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Vesentlig mindre administrativt arbeid 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Mindre risiko for avvik og menneskelige feil i administrasjon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/>
              <a:t>Samarbeid på tvers av seksjoner og nivåer</a:t>
            </a:r>
            <a:endParaRPr lang="en-US" dirty="0"/>
          </a:p>
          <a:p>
            <a:pPr marL="283845" indent="-283845">
              <a:spcAft>
                <a:spcPts val="800"/>
              </a:spcAft>
            </a:pPr>
            <a:r>
              <a:rPr lang="nb-NO" dirty="0"/>
              <a:t>Frigjør ressurser og kompetanse </a:t>
            </a:r>
          </a:p>
          <a:p>
            <a:pPr marL="283845" indent="-283845">
              <a:spcAft>
                <a:spcPts val="800"/>
              </a:spcAft>
            </a:pPr>
            <a:r>
              <a:rPr lang="nb-NO" dirty="0">
                <a:cs typeface="Arial"/>
              </a:rPr>
              <a:t>Økning i bruk av ulike formater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BF304E67-0AC1-DB74-31BD-E9D905C2E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792" y="2080611"/>
            <a:ext cx="16514064" cy="1084482"/>
          </a:xfrm>
        </p:spPr>
        <p:txBody>
          <a:bodyPr anchor="t">
            <a:normAutofit/>
          </a:bodyPr>
          <a:lstStyle/>
          <a:p>
            <a:r>
              <a:rPr lang="nb-NO" dirty="0"/>
              <a:t>Andre gevinster…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8364B53-B1DE-5BB6-7D80-3801ABCBD7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87600" y="12442191"/>
            <a:ext cx="1357200" cy="730250"/>
          </a:xfrm>
        </p:spPr>
        <p:txBody>
          <a:bodyPr anchor="ctr">
            <a:normAutofit/>
          </a:bodyPr>
          <a:lstStyle/>
          <a:p>
            <a:pPr marL="0" marR="0" lvl="0" indent="0" defTabSz="4572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A781808-2113-44B7-933A-742A33F90FAD}" type="datetime1">
              <a:rPr kumimoji="0" lang="nb-NO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4572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.04.2026</a:t>
            </a:fld>
            <a:endParaRPr kumimoji="0" lang="nb-NO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BDBE6A2-229D-E786-328E-B9C9982E9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29048" y="12442191"/>
            <a:ext cx="13368227" cy="730250"/>
          </a:xfrm>
        </p:spPr>
        <p:txBody>
          <a:bodyPr anchor="ctr">
            <a:normAutofit/>
          </a:bodyPr>
          <a:lstStyle/>
          <a:p>
            <a:pPr marL="0" marR="0" lvl="0" indent="0" defTabSz="4572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</a:rPr>
              <a:t>Lillestrøm kommune: tillit inkludering nyskaping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CF6E734-9B5E-C4A3-7849-C2AE09D1E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11" y="12442191"/>
            <a:ext cx="477839" cy="730250"/>
          </a:xfrm>
        </p:spPr>
        <p:txBody>
          <a:bodyPr anchor="ctr">
            <a:normAutofit/>
          </a:bodyPr>
          <a:lstStyle/>
          <a:p>
            <a:pPr marL="0" marR="0" lvl="0" indent="0" defTabSz="4572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56FC300-6EA6-4657-9829-8E9817A3066F}" type="slidenum">
              <a:rPr kumimoji="0" lang="nb-NO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4572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59271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5C3C85B5-F759-B24E-E741-D9F0A922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623" y="911383"/>
            <a:ext cx="22531725" cy="1084482"/>
          </a:xfrm>
        </p:spPr>
        <p:txBody>
          <a:bodyPr/>
          <a:lstStyle/>
          <a:p>
            <a:r>
              <a:rPr lang="en-US" dirty="0" err="1">
                <a:cs typeface="Arial"/>
              </a:rPr>
              <a:t>Hva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har</a:t>
            </a:r>
            <a:r>
              <a:rPr lang="en-US" dirty="0">
                <a:cs typeface="Arial"/>
              </a:rPr>
              <a:t> vi </a:t>
            </a:r>
            <a:r>
              <a:rPr lang="en-US" dirty="0" err="1">
                <a:cs typeface="Arial"/>
              </a:rPr>
              <a:t>brukt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gevinste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il</a:t>
            </a:r>
            <a:r>
              <a:rPr lang="en-US" dirty="0">
                <a:cs typeface="Arial"/>
              </a:rPr>
              <a:t>? 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21B741B-FD3C-9BA8-9B01-09C38A5BE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63807" y="2508250"/>
            <a:ext cx="10362526" cy="870267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83845" indent="-283845"/>
            <a:r>
              <a:rPr lang="en-US" dirty="0" err="1">
                <a:cs typeface="Arial"/>
              </a:rPr>
              <a:t>Utvikle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videre</a:t>
            </a:r>
            <a:br>
              <a:rPr lang="en-US" dirty="0">
                <a:cs typeface="Arial"/>
              </a:rPr>
            </a:br>
            <a:endParaRPr lang="en-US" dirty="0">
              <a:cs typeface="Arial"/>
            </a:endParaRPr>
          </a:p>
          <a:p>
            <a:pPr marL="283845" indent="-283845"/>
            <a:r>
              <a:rPr lang="en-US" dirty="0" err="1">
                <a:cs typeface="Arial"/>
              </a:rPr>
              <a:t>Styrke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ønske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kompetanse</a:t>
            </a:r>
            <a:r>
              <a:rPr lang="en-US" dirty="0">
                <a:cs typeface="Arial"/>
              </a:rPr>
              <a:t> </a:t>
            </a:r>
          </a:p>
          <a:p>
            <a:pPr marL="0" indent="0">
              <a:buNone/>
            </a:pPr>
            <a:endParaRPr lang="en-US" dirty="0">
              <a:cs typeface="Arial"/>
            </a:endParaRPr>
          </a:p>
          <a:p>
            <a:pPr marL="283845" indent="-283845"/>
            <a:r>
              <a:rPr lang="en-US" dirty="0" err="1">
                <a:cs typeface="Arial"/>
              </a:rPr>
              <a:t>Etablert</a:t>
            </a:r>
            <a:r>
              <a:rPr lang="en-US" dirty="0">
                <a:cs typeface="Arial"/>
              </a:rPr>
              <a:t> nye </a:t>
            </a:r>
            <a:r>
              <a:rPr lang="en-US" dirty="0" err="1">
                <a:cs typeface="Arial"/>
              </a:rPr>
              <a:t>strukturer</a:t>
            </a:r>
            <a:r>
              <a:rPr lang="en-US" dirty="0">
                <a:cs typeface="Arial"/>
              </a:rPr>
              <a:t> for </a:t>
            </a:r>
            <a:r>
              <a:rPr lang="en-US" dirty="0" err="1">
                <a:cs typeface="Arial"/>
              </a:rPr>
              <a:t>bedre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flyt</a:t>
            </a:r>
            <a:endParaRPr lang="en-US" dirty="0">
              <a:cs typeface="Arial"/>
            </a:endParaRPr>
          </a:p>
          <a:p>
            <a:pPr marL="0" indent="0">
              <a:buNone/>
            </a:pPr>
            <a:endParaRPr lang="en-US" dirty="0">
              <a:cs typeface="Arial"/>
            </a:endParaRPr>
          </a:p>
          <a:p>
            <a:pPr marL="283845" indent="-283845"/>
            <a:r>
              <a:rPr lang="en-US" dirty="0" err="1">
                <a:cs typeface="Arial"/>
              </a:rPr>
              <a:t>Mindreforbruk</a:t>
            </a:r>
            <a:endParaRPr lang="en-US" dirty="0">
              <a:cs typeface="Arial"/>
            </a:endParaRPr>
          </a:p>
          <a:p>
            <a:pPr marL="0" indent="0">
              <a:buNone/>
            </a:pPr>
            <a:endParaRPr lang="en-US" dirty="0">
              <a:cs typeface="Arial"/>
            </a:endParaRPr>
          </a:p>
          <a:p>
            <a:pPr marL="283845" indent="-283845"/>
            <a:r>
              <a:rPr lang="en-US" dirty="0" err="1">
                <a:cs typeface="Arial"/>
              </a:rPr>
              <a:t>Øk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antall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brukere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og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øk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gjennomstrømmingen</a:t>
            </a:r>
            <a:endParaRPr lang="en-US" dirty="0">
              <a:cs typeface="Arial"/>
            </a:endParaRPr>
          </a:p>
          <a:p>
            <a:pPr marL="0" indent="0">
              <a:buNone/>
            </a:pPr>
            <a:endParaRPr lang="en-US" dirty="0">
              <a:cs typeface="Arial"/>
            </a:endParaRPr>
          </a:p>
          <a:p>
            <a:pPr marL="283845" indent="-283845"/>
            <a:r>
              <a:rPr lang="en-US" dirty="0" err="1">
                <a:cs typeface="Arial"/>
              </a:rPr>
              <a:t>Øk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fleksibilite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og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valgfrihet</a:t>
            </a:r>
            <a:endParaRPr lang="en-US" dirty="0">
              <a:cs typeface="Arial"/>
            </a:endParaRPr>
          </a:p>
          <a:p>
            <a:pPr marL="0" indent="0">
              <a:buNone/>
            </a:pPr>
            <a:endParaRPr lang="en-US" dirty="0">
              <a:cs typeface="Arial"/>
            </a:endParaRPr>
          </a:p>
          <a:p>
            <a:pPr marL="283845" indent="-283845"/>
            <a:r>
              <a:rPr lang="en-US" dirty="0" err="1">
                <a:cs typeface="Arial"/>
              </a:rPr>
              <a:t>Øk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ilgjengelighe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på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kontakttelefon</a:t>
            </a:r>
            <a:r>
              <a:rPr lang="en-US" dirty="0">
                <a:cs typeface="Arial"/>
              </a:rPr>
              <a:t> </a:t>
            </a:r>
          </a:p>
          <a:p>
            <a:pPr marL="283845" indent="-283845"/>
            <a:endParaRPr lang="en-US" dirty="0">
              <a:cs typeface="Arial"/>
            </a:endParaRPr>
          </a:p>
          <a:p>
            <a:pPr marL="0" indent="0">
              <a:buNone/>
            </a:pPr>
            <a:endParaRPr lang="en-US" dirty="0">
              <a:cs typeface="Arial"/>
            </a:endParaRPr>
          </a:p>
          <a:p>
            <a:pPr marL="0" indent="0">
              <a:buNone/>
            </a:pPr>
            <a:endParaRPr lang="en-US" dirty="0">
              <a:cs typeface="Arial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62D01FE-C053-B071-3791-DA881F743C7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rcRect r="-1" b="7457"/>
          <a:stretch>
            <a:fillRect/>
          </a:stretch>
        </p:blipFill>
        <p:spPr>
          <a:xfrm>
            <a:off x="12185909" y="3197991"/>
            <a:ext cx="10362526" cy="8702676"/>
          </a:xfrm>
          <a:prstGeom prst="rect">
            <a:avLst/>
          </a:prstGeom>
          <a:noFill/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F8C480-93EF-6EE0-D6F7-E5BEEF5B55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87600" y="12442191"/>
            <a:ext cx="1357200" cy="7302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2F3810D-3E41-497E-86BD-A37FBEFD4C88}" type="datetime1">
              <a:rPr lang="nb-NO" smtClean="0"/>
              <a:pPr>
                <a:spcAft>
                  <a:spcPts val="600"/>
                </a:spcAft>
              </a:pPr>
              <a:t>19.04.2026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87F490-C61F-2F16-3AC2-5869F4D01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29048" y="12442191"/>
            <a:ext cx="13368227" cy="7302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Lillestrøm kommune: tillit inkludering nyskap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4FD28-0DA2-0CE3-DFDE-08EFD48E2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11" y="12442191"/>
            <a:ext cx="477839" cy="7302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356FC300-6EA6-4657-9829-8E9817A3066F}" type="slidenum">
              <a:rPr lang="nb-NO" smtClean="0"/>
              <a:pPr>
                <a:spcAft>
                  <a:spcPts val="600"/>
                </a:spcAft>
              </a:pPr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6727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7A769E7-49E3-CA8D-3DF5-399E58212D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22428578" cy="2478051"/>
          </a:xfrm>
        </p:spPr>
        <p:txBody>
          <a:bodyPr/>
          <a:lstStyle/>
          <a:p>
            <a:pPr algn="ctr"/>
            <a:r>
              <a:rPr lang="nb-NO" sz="8000" dirty="0"/>
              <a:t>Takk for meg!</a:t>
            </a:r>
            <a:br>
              <a:rPr lang="nb-NO" sz="4000" dirty="0"/>
            </a:br>
            <a:br>
              <a:rPr lang="nb-NO" sz="4000" dirty="0"/>
            </a:br>
            <a:br>
              <a:rPr lang="nb-NO" sz="4000" dirty="0"/>
            </a:br>
            <a:br>
              <a:rPr lang="nb-NO" sz="4000" dirty="0"/>
            </a:br>
            <a:br>
              <a:rPr lang="nb-NO" sz="4000" dirty="0"/>
            </a:br>
            <a:r>
              <a:rPr lang="nb-NO" sz="4000" dirty="0"/>
              <a:t>Lillestrøm kommune, psykisk helse og avhengighet</a:t>
            </a:r>
            <a:br>
              <a:rPr lang="nb-NO" sz="4000" dirty="0"/>
            </a:br>
            <a:br>
              <a:rPr lang="nb-NO" sz="4000" dirty="0"/>
            </a:br>
            <a:br>
              <a:rPr lang="nb-NO" sz="4000" dirty="0"/>
            </a:br>
            <a:r>
              <a:rPr lang="nb-NO" sz="4000" dirty="0" err="1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isabet.eide-fallet@lillestrøm@kommune.no</a:t>
            </a:r>
            <a:br>
              <a:rPr lang="nb-NO" sz="4000" dirty="0"/>
            </a:br>
            <a:br>
              <a:rPr lang="nb-NO" sz="4000" dirty="0"/>
            </a:br>
            <a:br>
              <a:rPr lang="nb-NO" sz="4000" dirty="0"/>
            </a:br>
            <a:endParaRPr lang="nb-NO" sz="4000" dirty="0"/>
          </a:p>
        </p:txBody>
      </p:sp>
    </p:spTree>
    <p:extLst>
      <p:ext uri="{BB962C8B-B14F-4D97-AF65-F5344CB8AC3E}">
        <p14:creationId xmlns:p14="http://schemas.microsoft.com/office/powerpoint/2010/main" val="22647621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B79091CE-BB2C-44B0-51C3-9C451A96BE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5513" y="3810000"/>
            <a:ext cx="15378112" cy="920115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dirty="0" err="1"/>
              <a:t>Behovsplan</a:t>
            </a:r>
            <a:r>
              <a:rPr lang="en-US" sz="4000" dirty="0"/>
              <a:t> </a:t>
            </a:r>
            <a:r>
              <a:rPr lang="en-US" sz="4000" dirty="0" err="1"/>
              <a:t>som</a:t>
            </a:r>
            <a:r>
              <a:rPr lang="en-US" sz="4000" dirty="0"/>
              <a:t> </a:t>
            </a:r>
            <a:r>
              <a:rPr lang="en-US" sz="4000" dirty="0" err="1"/>
              <a:t>viser</a:t>
            </a:r>
            <a:r>
              <a:rPr lang="en-US" sz="4000" dirty="0"/>
              <a:t> </a:t>
            </a:r>
            <a:r>
              <a:rPr lang="en-US" sz="4000" dirty="0" err="1"/>
              <a:t>kommende</a:t>
            </a:r>
            <a:r>
              <a:rPr lang="en-US" sz="4000" dirty="0"/>
              <a:t> </a:t>
            </a:r>
            <a:r>
              <a:rPr lang="en-US" sz="4000" dirty="0" err="1"/>
              <a:t>ressursmangel</a:t>
            </a:r>
            <a:r>
              <a:rPr lang="en-US" sz="4000" dirty="0"/>
              <a:t> </a:t>
            </a:r>
            <a:r>
              <a:rPr lang="en-US" sz="4000" dirty="0" err="1"/>
              <a:t>i</a:t>
            </a:r>
            <a:r>
              <a:rPr lang="en-US" sz="4000" dirty="0"/>
              <a:t> </a:t>
            </a:r>
            <a:r>
              <a:rPr lang="en-US" sz="4000" dirty="0" err="1"/>
              <a:t>helsetjenestene</a:t>
            </a:r>
            <a:endParaRPr lang="en-US" sz="4000" dirty="0">
              <a:cs typeface="Arial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dirty="0" err="1"/>
              <a:t>Teknologiløft</a:t>
            </a:r>
            <a:r>
              <a:rPr lang="en-US" sz="4000" dirty="0"/>
              <a:t>: </a:t>
            </a:r>
            <a:r>
              <a:rPr lang="en-US" sz="4000" dirty="0" err="1"/>
              <a:t>digitalisering</a:t>
            </a:r>
            <a:r>
              <a:rPr lang="en-US" sz="4000" dirty="0"/>
              <a:t> der det er </a:t>
            </a:r>
            <a:r>
              <a:rPr lang="en-US" sz="4000" dirty="0" err="1"/>
              <a:t>mulig</a:t>
            </a:r>
            <a:endParaRPr lang="en-US" sz="4000" dirty="0"/>
          </a:p>
          <a:p>
            <a:pPr marL="0" indent="0">
              <a:lnSpc>
                <a:spcPct val="90000"/>
              </a:lnSpc>
              <a:spcAft>
                <a:spcPts val="600"/>
              </a:spcAft>
              <a:buNone/>
            </a:pP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dirty="0"/>
              <a:t>Krav om </a:t>
            </a:r>
            <a:r>
              <a:rPr lang="en-US" sz="4000" dirty="0" err="1"/>
              <a:t>innsparing</a:t>
            </a: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dirty="0" err="1"/>
              <a:t>Oppdragsbrev</a:t>
            </a:r>
            <a:r>
              <a:rPr lang="en-US" sz="4000" dirty="0"/>
              <a:t> </a:t>
            </a:r>
            <a:r>
              <a:rPr lang="en-US" sz="4000" dirty="0" err="1"/>
              <a:t>fra</a:t>
            </a:r>
            <a:r>
              <a:rPr lang="en-US" sz="4000" dirty="0"/>
              <a:t> </a:t>
            </a:r>
            <a:r>
              <a:rPr lang="en-US" sz="4000" dirty="0" err="1"/>
              <a:t>kommunedirektør</a:t>
            </a: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dirty="0" err="1"/>
              <a:t>Økte</a:t>
            </a:r>
            <a:r>
              <a:rPr lang="en-US" sz="4000" dirty="0"/>
              <a:t> </a:t>
            </a:r>
            <a:r>
              <a:rPr lang="en-US" sz="4000" dirty="0" err="1"/>
              <a:t>forventninger</a:t>
            </a:r>
            <a:r>
              <a:rPr lang="en-US" sz="4000" dirty="0"/>
              <a:t> </a:t>
            </a:r>
            <a:r>
              <a:rPr lang="en-US" sz="4000" dirty="0" err="1"/>
              <a:t>i</a:t>
            </a:r>
            <a:r>
              <a:rPr lang="en-US" sz="4000" dirty="0"/>
              <a:t> </a:t>
            </a:r>
            <a:r>
              <a:rPr lang="en-US" sz="4000" dirty="0" err="1"/>
              <a:t>befolkningen</a:t>
            </a:r>
            <a:r>
              <a:rPr lang="en-US" sz="4000" dirty="0"/>
              <a:t> - </a:t>
            </a:r>
            <a:r>
              <a:rPr lang="en-US" sz="4000" dirty="0" err="1"/>
              <a:t>stor</a:t>
            </a:r>
            <a:r>
              <a:rPr lang="en-US" sz="4000" dirty="0"/>
              <a:t> </a:t>
            </a:r>
            <a:r>
              <a:rPr lang="en-US" sz="4000" dirty="0" err="1"/>
              <a:t>etterspørsel</a:t>
            </a:r>
            <a:endParaRPr lang="en-US" sz="4000" dirty="0">
              <a:cs typeface="Arial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4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dirty="0" err="1"/>
              <a:t>Initiativ</a:t>
            </a:r>
            <a:r>
              <a:rPr lang="en-US" sz="4000" dirty="0"/>
              <a:t> </a:t>
            </a:r>
            <a:r>
              <a:rPr lang="en-US" sz="4000" dirty="0" err="1"/>
              <a:t>og</a:t>
            </a:r>
            <a:r>
              <a:rPr lang="en-US" sz="4000" dirty="0"/>
              <a:t> </a:t>
            </a:r>
            <a:r>
              <a:rPr lang="en-US" sz="4000" dirty="0" err="1"/>
              <a:t>engasjement</a:t>
            </a:r>
            <a:r>
              <a:rPr lang="en-US" sz="4000" dirty="0"/>
              <a:t> hos </a:t>
            </a:r>
            <a:r>
              <a:rPr lang="en-US" sz="4000" dirty="0" err="1"/>
              <a:t>ansatte</a:t>
            </a:r>
            <a:r>
              <a:rPr lang="en-US" sz="4000" dirty="0"/>
              <a:t> </a:t>
            </a:r>
            <a:r>
              <a:rPr lang="en-US" sz="4000" dirty="0" err="1"/>
              <a:t>og</a:t>
            </a:r>
            <a:r>
              <a:rPr lang="en-US" sz="4000" dirty="0"/>
              <a:t> </a:t>
            </a:r>
            <a:r>
              <a:rPr lang="en-US" sz="4000" dirty="0" err="1"/>
              <a:t>ledere</a:t>
            </a:r>
            <a:endParaRPr lang="en-US" sz="4000" dirty="0"/>
          </a:p>
          <a:p>
            <a:pPr marL="0" indent="0">
              <a:lnSpc>
                <a:spcPct val="90000"/>
              </a:lnSpc>
              <a:spcAft>
                <a:spcPts val="600"/>
              </a:spcAft>
              <a:buNone/>
            </a:pPr>
            <a:r>
              <a:rPr lang="en-US" sz="2600" dirty="0"/>
              <a:t> </a:t>
            </a:r>
            <a:endParaRPr lang="en-US" sz="2600" dirty="0">
              <a:cs typeface="Arial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D5F69C46-32E7-B6DC-3F1D-3B9126824F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5199" y="2286000"/>
            <a:ext cx="15379200" cy="1524000"/>
          </a:xfrm>
        </p:spPr>
        <p:txBody>
          <a:bodyPr anchor="t">
            <a:normAutofit/>
          </a:bodyPr>
          <a:lstStyle/>
          <a:p>
            <a:r>
              <a:rPr lang="en-US" err="1"/>
              <a:t>Fremtiden</a:t>
            </a:r>
            <a:r>
              <a:rPr lang="en-US"/>
              <a:t> er </a:t>
            </a:r>
            <a:r>
              <a:rPr lang="en-US" err="1"/>
              <a:t>nå</a:t>
            </a:r>
            <a:r>
              <a:rPr lang="en-US"/>
              <a:t>!</a:t>
            </a:r>
          </a:p>
        </p:txBody>
      </p:sp>
      <p:sp>
        <p:nvSpPr>
          <p:cNvPr id="4" name="Plassholder for dato 3" hidden="1">
            <a:extLst>
              <a:ext uri="{FF2B5EF4-FFF2-40B4-BE49-F238E27FC236}">
                <a16:creationId xmlns:a16="http://schemas.microsoft.com/office/drawing/2014/main" id="{BAA59085-8482-0067-D51A-7EA730754D0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12442825"/>
            <a:ext cx="1357313" cy="73025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414E0C1-889E-4DEB-92A8-C42C92FEAE95}" type="datetime1">
              <a:rPr lang="nb-NO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19.04.2026</a:t>
            </a:fld>
            <a:endParaRPr lang="nb-NO" sz="500"/>
          </a:p>
        </p:txBody>
      </p:sp>
      <p:sp>
        <p:nvSpPr>
          <p:cNvPr id="5" name="Plassholder for lysbildenummer 4" hidden="1">
            <a:extLst>
              <a:ext uri="{FF2B5EF4-FFF2-40B4-BE49-F238E27FC236}">
                <a16:creationId xmlns:a16="http://schemas.microsoft.com/office/drawing/2014/main" id="{971231B6-0186-5969-21AD-D9130790427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12442825"/>
            <a:ext cx="477838" cy="73025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356FC300-6EA6-4657-9829-8E9817A3066F}" type="slidenum">
              <a:rPr lang="nb-NO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endParaRPr lang="nb-NO" sz="500"/>
          </a:p>
        </p:txBody>
      </p:sp>
    </p:spTree>
    <p:extLst>
      <p:ext uri="{BB962C8B-B14F-4D97-AF65-F5344CB8AC3E}">
        <p14:creationId xmlns:p14="http://schemas.microsoft.com/office/powerpoint/2010/main" val="267054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CC1A8003-82A7-4090-A64F-5D0EB8750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Mer bruk av ressurser?</a:t>
            </a:r>
          </a:p>
          <a:p>
            <a:pPr>
              <a:spcAft>
                <a:spcPts val="600"/>
              </a:spcAft>
            </a:pPr>
            <a:endParaRPr lang="nb-NO"/>
          </a:p>
          <a:p>
            <a:pPr>
              <a:spcAft>
                <a:spcPts val="600"/>
              </a:spcAft>
            </a:pPr>
            <a:r>
              <a:rPr lang="nb-NO"/>
              <a:t>Mindre bruk av ressurser? </a:t>
            </a:r>
          </a:p>
          <a:p>
            <a:pPr marL="0" indent="0">
              <a:spcAft>
                <a:spcPts val="600"/>
              </a:spcAft>
              <a:buNone/>
            </a:pPr>
            <a:endParaRPr lang="nb-NO"/>
          </a:p>
          <a:p>
            <a:pPr>
              <a:spcAft>
                <a:spcPts val="600"/>
              </a:spcAft>
            </a:pPr>
            <a:r>
              <a:rPr lang="nb-NO"/>
              <a:t>Mindre bruk av feil ressurser og mer bruk av riktige ressurser? </a:t>
            </a:r>
          </a:p>
          <a:p>
            <a:pPr marL="0" indent="0">
              <a:spcAft>
                <a:spcPts val="600"/>
              </a:spcAft>
              <a:buNone/>
            </a:pPr>
            <a:endParaRPr lang="nb-NO"/>
          </a:p>
          <a:p>
            <a:pPr marL="0" indent="0">
              <a:spcAft>
                <a:spcPts val="600"/>
              </a:spcAft>
              <a:buNone/>
            </a:pPr>
            <a:r>
              <a:rPr lang="nb-NO" b="1"/>
              <a:t>Hjelp som hjelper?</a:t>
            </a:r>
          </a:p>
          <a:p>
            <a:pPr marL="0" indent="0">
              <a:spcAft>
                <a:spcPts val="600"/>
              </a:spcAft>
              <a:buNone/>
            </a:pPr>
            <a:endParaRPr lang="nb-NO"/>
          </a:p>
          <a:p>
            <a:pPr marL="0" indent="0">
              <a:spcAft>
                <a:spcPts val="600"/>
              </a:spcAft>
              <a:buNone/>
            </a:pPr>
            <a:r>
              <a:rPr lang="nb-NO"/>
              <a:t>Kan utvikling og forbedring være effektiviseringstiltak?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6C424405-F051-4EC4-9706-F78213D20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Effektivisere - når og hvordan?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D00E329-C5AA-1A88-7644-79228361E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anchor="ctr">
            <a:normAutofit/>
          </a:bodyPr>
          <a:lstStyle/>
          <a:p>
            <a:pPr marL="0" marR="0" lvl="0" indent="0" defTabSz="4572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A781808-2113-44B7-933A-742A33F90FAD}" type="datetime1">
              <a:rPr kumimoji="0" lang="nb-NO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4572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.04.2026</a:t>
            </a:fld>
            <a:endParaRPr kumimoji="0" lang="nb-NO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492782B-A7CF-6057-962D-BF2D73372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 marL="0" marR="0" lvl="0" indent="0" defTabSz="4572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56FC300-6EA6-4657-9829-8E9817A3066F}" type="slidenum">
              <a:rPr kumimoji="0" lang="nb-NO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4572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Plassholder for dato 3" hidden="1">
            <a:extLst>
              <a:ext uri="{FF2B5EF4-FFF2-40B4-BE49-F238E27FC236}">
                <a16:creationId xmlns:a16="http://schemas.microsoft.com/office/drawing/2014/main" id="{1DA46531-CA86-4BBB-BB28-2E4D943A127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12442825"/>
            <a:ext cx="1357313" cy="73025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74FDB352-00F1-4EEB-92CF-6618CFEC6EB8}" type="datetime1">
              <a:rPr kumimoji="0" lang="nb-NO" sz="1800" b="0" i="0" u="none" strike="noStrike" kern="1200" cap="none" spc="0" normalizeH="0" baseline="0" noProof="0" smtClean="0">
                <a:ln>
                  <a:noFill/>
                </a:ln>
                <a:solidFill>
                  <a:srgbClr val="2332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.04.2026</a:t>
            </a:fld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2332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ssholder for lysbildenummer 5" hidden="1">
            <a:extLst>
              <a:ext uri="{FF2B5EF4-FFF2-40B4-BE49-F238E27FC236}">
                <a16:creationId xmlns:a16="http://schemas.microsoft.com/office/drawing/2014/main" id="{F5D98ED8-5A4E-4B5A-8866-E9907235B4D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12442825"/>
            <a:ext cx="477838" cy="73025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56FC300-6EA6-4657-9829-8E9817A3066F}" type="slidenum">
              <a:rPr kumimoji="0" lang="nb-NO" sz="1800" b="0" i="0" u="none" strike="noStrike" kern="1200" cap="none" spc="0" normalizeH="0" baseline="0" noProof="0" smtClean="0">
                <a:ln>
                  <a:noFill/>
                </a:ln>
                <a:solidFill>
                  <a:srgbClr val="2332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2332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458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373497-38E1-AFAB-70D0-404511668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A3FC587-79A4-CC76-E6F4-B6BBF9FA0D1F}"/>
              </a:ext>
            </a:extLst>
          </p:cNvPr>
          <p:cNvGraphicFramePr/>
          <p:nvPr/>
        </p:nvGraphicFramePr>
        <p:xfrm>
          <a:off x="4052455" y="853797"/>
          <a:ext cx="16253884" cy="10835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Box 17">
            <a:extLst>
              <a:ext uri="{FF2B5EF4-FFF2-40B4-BE49-F238E27FC236}">
                <a16:creationId xmlns:a16="http://schemas.microsoft.com/office/drawing/2014/main" id="{66ADFEBE-E345-DCB9-63C8-01D2E458FE32}"/>
              </a:ext>
            </a:extLst>
          </p:cNvPr>
          <p:cNvSpPr txBox="1"/>
          <p:nvPr/>
        </p:nvSpPr>
        <p:spPr>
          <a:xfrm>
            <a:off x="9162652" y="12710668"/>
            <a:ext cx="6033493" cy="803298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182856" tIns="91428" rIns="182856" bIns="91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57177">
              <a:lnSpc>
                <a:spcPct val="107000"/>
              </a:lnSpc>
              <a:spcAft>
                <a:spcPts val="1600"/>
              </a:spcAft>
            </a:pPr>
            <a:r>
              <a:rPr lang="nb-NO" sz="4000">
                <a:solidFill>
                  <a:srgbClr val="000000"/>
                </a:solidFill>
                <a:effectLst>
                  <a:outerShdw blurRad="38100" dist="19050" dir="2700000" algn="tl">
                    <a:srgbClr val="233264">
                      <a:alpha val="40000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all innbyggere</a:t>
            </a:r>
            <a:endParaRPr lang="nb-NO" sz="4000">
              <a:solidFill>
                <a:srgbClr val="23326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 Box 217">
            <a:extLst>
              <a:ext uri="{FF2B5EF4-FFF2-40B4-BE49-F238E27FC236}">
                <a16:creationId xmlns:a16="http://schemas.microsoft.com/office/drawing/2014/main" id="{2B6D5C79-DD69-E79E-6256-0B83D0AC59B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0054458" y="5763570"/>
            <a:ext cx="5321118" cy="147268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182856" tIns="91428" rIns="182856" bIns="91428" anchor="t" anchorCtr="0">
            <a:spAutoFit/>
          </a:bodyPr>
          <a:lstStyle/>
          <a:p>
            <a:pPr defTabSz="457177">
              <a:lnSpc>
                <a:spcPct val="107000"/>
              </a:lnSpc>
              <a:spcAft>
                <a:spcPts val="1600"/>
              </a:spcAft>
            </a:pPr>
            <a:r>
              <a:rPr lang="nb-NO" sz="4000">
                <a:solidFill>
                  <a:srgbClr val="23326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d av involvering/støtte</a:t>
            </a:r>
          </a:p>
        </p:txBody>
      </p:sp>
      <p:sp>
        <p:nvSpPr>
          <p:cNvPr id="8" name="Text Box 24">
            <a:extLst>
              <a:ext uri="{FF2B5EF4-FFF2-40B4-BE49-F238E27FC236}">
                <a16:creationId xmlns:a16="http://schemas.microsoft.com/office/drawing/2014/main" id="{A6ADB8C0-909C-DFD4-1F75-C2A4C37A43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3446" y="913816"/>
            <a:ext cx="1134216" cy="82793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182856" tIns="91428" rIns="182856" bIns="91428" anchor="t" anchorCtr="0">
            <a:noAutofit/>
          </a:bodyPr>
          <a:lstStyle/>
          <a:p>
            <a:pPr defTabSz="457177">
              <a:lnSpc>
                <a:spcPct val="107000"/>
              </a:lnSpc>
              <a:spcAft>
                <a:spcPts val="1600"/>
              </a:spcAft>
            </a:pPr>
            <a:r>
              <a:rPr lang="nb-NO" sz="3600">
                <a:solidFill>
                  <a:srgbClr val="23326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øy</a:t>
            </a:r>
          </a:p>
        </p:txBody>
      </p:sp>
      <p:sp>
        <p:nvSpPr>
          <p:cNvPr id="9" name="Text Box 26">
            <a:extLst>
              <a:ext uri="{FF2B5EF4-FFF2-40B4-BE49-F238E27FC236}">
                <a16:creationId xmlns:a16="http://schemas.microsoft.com/office/drawing/2014/main" id="{66219DCE-9680-F1BD-8CA0-C495C14B73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3447" y="10861788"/>
            <a:ext cx="1134214" cy="82793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182856" tIns="91428" rIns="182856" bIns="91428" anchor="t" anchorCtr="0">
            <a:noAutofit/>
          </a:bodyPr>
          <a:lstStyle/>
          <a:p>
            <a:pPr defTabSz="457177">
              <a:lnSpc>
                <a:spcPct val="107000"/>
              </a:lnSpc>
              <a:spcAft>
                <a:spcPts val="1600"/>
              </a:spcAft>
            </a:pPr>
            <a:r>
              <a:rPr lang="nb-NO" sz="3600">
                <a:solidFill>
                  <a:srgbClr val="23326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v</a:t>
            </a:r>
          </a:p>
        </p:txBody>
      </p:sp>
      <p:cxnSp>
        <p:nvCxnSpPr>
          <p:cNvPr id="11" name="Rett pilkobling 10">
            <a:extLst>
              <a:ext uri="{FF2B5EF4-FFF2-40B4-BE49-F238E27FC236}">
                <a16:creationId xmlns:a16="http://schemas.microsoft.com/office/drawing/2014/main" id="{6F50D31B-8FF3-85BF-4684-C8E9A9B02490}"/>
              </a:ext>
            </a:extLst>
          </p:cNvPr>
          <p:cNvCxnSpPr/>
          <p:nvPr/>
        </p:nvCxnSpPr>
        <p:spPr>
          <a:xfrm>
            <a:off x="21440552" y="2815361"/>
            <a:ext cx="0" cy="7369104"/>
          </a:xfrm>
          <a:prstGeom prst="straightConnector1">
            <a:avLst/>
          </a:prstGeom>
          <a:ln w="50800"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tt pilkobling 12">
            <a:extLst>
              <a:ext uri="{FF2B5EF4-FFF2-40B4-BE49-F238E27FC236}">
                <a16:creationId xmlns:a16="http://schemas.microsoft.com/office/drawing/2014/main" id="{158AE5AC-51DD-7B1B-FAE2-BCE73454F78B}"/>
              </a:ext>
            </a:extLst>
          </p:cNvPr>
          <p:cNvCxnSpPr/>
          <p:nvPr/>
        </p:nvCxnSpPr>
        <p:spPr>
          <a:xfrm>
            <a:off x="6583617" y="12215687"/>
            <a:ext cx="11135943" cy="0"/>
          </a:xfrm>
          <a:prstGeom prst="straightConnector1">
            <a:avLst/>
          </a:prstGeom>
          <a:ln w="50800"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Rett pilkobling 2">
            <a:extLst>
              <a:ext uri="{FF2B5EF4-FFF2-40B4-BE49-F238E27FC236}">
                <a16:creationId xmlns:a16="http://schemas.microsoft.com/office/drawing/2014/main" id="{82C5E72C-F7FC-9F64-BB4A-DF4D707CDE19}"/>
              </a:ext>
            </a:extLst>
          </p:cNvPr>
          <p:cNvCxnSpPr/>
          <p:nvPr/>
        </p:nvCxnSpPr>
        <p:spPr>
          <a:xfrm>
            <a:off x="1372304" y="2481868"/>
            <a:ext cx="0" cy="8234650"/>
          </a:xfrm>
          <a:prstGeom prst="straightConnector1">
            <a:avLst/>
          </a:prstGeom>
          <a:ln w="571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63D7035-FDDE-517A-BAE7-7D58C80C4565}"/>
              </a:ext>
            </a:extLst>
          </p:cNvPr>
          <p:cNvSpPr txBox="1"/>
          <p:nvPr/>
        </p:nvSpPr>
        <p:spPr>
          <a:xfrm>
            <a:off x="1939197" y="3164064"/>
            <a:ext cx="2031325" cy="720583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defTabSz="457177"/>
            <a:r>
              <a:rPr lang="nb-NO" sz="4000">
                <a:solidFill>
                  <a:srgbClr val="233264"/>
                </a:solidFill>
                <a:latin typeface="Arial"/>
              </a:rPr>
              <a:t>Kurs/grupper, e-helse, aktivitet og frivillighet, pårørende- og nettverksarbeid</a:t>
            </a:r>
          </a:p>
        </p:txBody>
      </p:sp>
    </p:spTree>
    <p:extLst>
      <p:ext uri="{BB962C8B-B14F-4D97-AF65-F5344CB8AC3E}">
        <p14:creationId xmlns:p14="http://schemas.microsoft.com/office/powerpoint/2010/main" val="2577231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7460DC91-1328-89CF-BEBF-DBC9F95B1493}"/>
              </a:ext>
            </a:extLst>
          </p:cNvPr>
          <p:cNvSpPr txBox="1"/>
          <p:nvPr/>
        </p:nvSpPr>
        <p:spPr>
          <a:xfrm>
            <a:off x="5513990" y="1460976"/>
            <a:ext cx="7161504" cy="646331"/>
          </a:xfrm>
          <a:prstGeom prst="rect">
            <a:avLst/>
          </a:prstGeom>
          <a:solidFill>
            <a:srgbClr val="A0D2B4"/>
          </a:solidFill>
          <a:ln w="38100">
            <a:solidFill>
              <a:srgbClr val="233264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prstClr val="black"/>
                </a:solidFill>
                <a:latin typeface="Calibri" panose="020F0502020204030204"/>
              </a:rPr>
              <a:t>Kontakttelefonen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3943CFB6-6030-AAC1-A691-9A0003C75B30}"/>
              </a:ext>
            </a:extLst>
          </p:cNvPr>
          <p:cNvSpPr txBox="1"/>
          <p:nvPr/>
        </p:nvSpPr>
        <p:spPr>
          <a:xfrm>
            <a:off x="15478904" y="3801712"/>
            <a:ext cx="3599298" cy="646331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233264"/>
                </a:solidFill>
                <a:latin typeface="Calibri" panose="020F0502020204030204"/>
              </a:rPr>
              <a:t>Tjenestetorg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43C2BF46-9B39-D59C-F490-79CEDBC4BFFB}"/>
              </a:ext>
            </a:extLst>
          </p:cNvPr>
          <p:cNvSpPr txBox="1"/>
          <p:nvPr/>
        </p:nvSpPr>
        <p:spPr>
          <a:xfrm>
            <a:off x="20328856" y="1486017"/>
            <a:ext cx="3599298" cy="646331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233264"/>
                </a:solidFill>
                <a:latin typeface="Calibri" panose="020F0502020204030204"/>
              </a:rPr>
              <a:t>Henvisninger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F79DBB78-4822-376B-96B5-D683A55F4107}"/>
              </a:ext>
            </a:extLst>
          </p:cNvPr>
          <p:cNvSpPr txBox="1"/>
          <p:nvPr/>
        </p:nvSpPr>
        <p:spPr>
          <a:xfrm>
            <a:off x="14295794" y="1463517"/>
            <a:ext cx="4785098" cy="1200329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233264"/>
                </a:solidFill>
                <a:latin typeface="Calibri" panose="020F0502020204030204"/>
              </a:rPr>
              <a:t>Egensøknad: Helse- og omsorgstjenester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729CD1EF-2F94-AF3A-7721-289F1D3F3677}"/>
              </a:ext>
            </a:extLst>
          </p:cNvPr>
          <p:cNvSpPr txBox="1"/>
          <p:nvPr/>
        </p:nvSpPr>
        <p:spPr>
          <a:xfrm>
            <a:off x="20328856" y="6967430"/>
            <a:ext cx="3599298" cy="646331"/>
          </a:xfrm>
          <a:prstGeom prst="rect">
            <a:avLst/>
          </a:prstGeom>
          <a:solidFill>
            <a:srgbClr val="3C78B4"/>
          </a:solidFill>
          <a:ln w="38100">
            <a:solidFill>
              <a:srgbClr val="FFFFFF"/>
            </a:solidFill>
          </a:ln>
        </p:spPr>
        <p:txBody>
          <a:bodyPr wrap="square" rtlCol="0" anchor="ctr" anchorCtr="0">
            <a:spAutoFit/>
          </a:bodyPr>
          <a:lstStyle/>
          <a:p>
            <a:pPr algn="ctr" defTabSz="457155"/>
            <a:r>
              <a:rPr lang="nb-NO" sz="3600">
                <a:solidFill>
                  <a:srgbClr val="FFFFFF"/>
                </a:solidFill>
                <a:latin typeface="Calibri" panose="020F0502020204030204"/>
              </a:rPr>
              <a:t>FACT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1551CA3A-1EA9-5D37-C9B3-4A1A66FA6170}"/>
              </a:ext>
            </a:extLst>
          </p:cNvPr>
          <p:cNvSpPr txBox="1"/>
          <p:nvPr/>
        </p:nvSpPr>
        <p:spPr>
          <a:xfrm>
            <a:off x="20328856" y="5326336"/>
            <a:ext cx="3599298" cy="1200329"/>
          </a:xfrm>
          <a:prstGeom prst="rect">
            <a:avLst/>
          </a:prstGeom>
          <a:solidFill>
            <a:srgbClr val="233264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FFFFFF"/>
                </a:solidFill>
                <a:latin typeface="Calibri" panose="020F0502020204030204"/>
              </a:rPr>
              <a:t>Bolig med bemanning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40C0E7B6-EC53-C831-B4AC-EF7EF8D264E9}"/>
              </a:ext>
            </a:extLst>
          </p:cNvPr>
          <p:cNvSpPr txBox="1"/>
          <p:nvPr/>
        </p:nvSpPr>
        <p:spPr>
          <a:xfrm>
            <a:off x="15481596" y="6090420"/>
            <a:ext cx="3599298" cy="1200329"/>
          </a:xfrm>
          <a:prstGeom prst="rect">
            <a:avLst/>
          </a:prstGeom>
          <a:solidFill>
            <a:srgbClr val="F07850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FFFFFF"/>
                </a:solidFill>
                <a:latin typeface="Calibri" panose="020F0502020204030204"/>
              </a:rPr>
              <a:t>Vedtaksbasert oppfølging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07DADE8A-C7CB-A484-3512-27AA6CD07273}"/>
              </a:ext>
            </a:extLst>
          </p:cNvPr>
          <p:cNvSpPr txBox="1"/>
          <p:nvPr/>
        </p:nvSpPr>
        <p:spPr>
          <a:xfrm>
            <a:off x="15478904" y="9870326"/>
            <a:ext cx="3599298" cy="2308324"/>
          </a:xfrm>
          <a:prstGeom prst="rect">
            <a:avLst/>
          </a:prstGeom>
          <a:solidFill>
            <a:srgbClr val="F07850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FFFFFF"/>
                </a:solidFill>
                <a:latin typeface="Calibri" panose="020F0502020204030204"/>
              </a:rPr>
              <a:t>Koordinert, langvarig og fleksibel oppfølging 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1491BA37-965D-791C-FA44-752A8E92F192}"/>
              </a:ext>
            </a:extLst>
          </p:cNvPr>
          <p:cNvSpPr txBox="1"/>
          <p:nvPr/>
        </p:nvSpPr>
        <p:spPr>
          <a:xfrm>
            <a:off x="7491396" y="9893213"/>
            <a:ext cx="3599298" cy="2308324"/>
          </a:xfrm>
          <a:prstGeom prst="rect">
            <a:avLst/>
          </a:prstGeom>
          <a:solidFill>
            <a:srgbClr val="F0C8A0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prstClr val="black"/>
                </a:solidFill>
                <a:latin typeface="Calibri" panose="020F0502020204030204"/>
              </a:rPr>
              <a:t>Oppfølging ved behov med fast kontaktperson</a:t>
            </a:r>
            <a:br>
              <a:rPr lang="nb-NO" sz="3600">
                <a:solidFill>
                  <a:prstClr val="black"/>
                </a:solidFill>
                <a:latin typeface="Calibri" panose="020F0502020204030204"/>
              </a:rPr>
            </a:br>
            <a:r>
              <a:rPr lang="nb-NO" sz="3600">
                <a:solidFill>
                  <a:prstClr val="black"/>
                </a:solidFill>
                <a:latin typeface="Calibri" panose="020F0502020204030204"/>
              </a:rPr>
              <a:t>Tidlig Inn</a:t>
            </a:r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16F8A902-53B9-51EB-70B9-6B10342381A7}"/>
              </a:ext>
            </a:extLst>
          </p:cNvPr>
          <p:cNvSpPr txBox="1"/>
          <p:nvPr/>
        </p:nvSpPr>
        <p:spPr>
          <a:xfrm>
            <a:off x="6618907" y="4413627"/>
            <a:ext cx="2395260" cy="1200329"/>
          </a:xfrm>
          <a:prstGeom prst="rect">
            <a:avLst/>
          </a:prstGeom>
          <a:solidFill>
            <a:srgbClr val="FAD2E6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233264"/>
                </a:solidFill>
                <a:latin typeface="Calibri" panose="020F0502020204030204"/>
              </a:rPr>
              <a:t>Assistert selvhjelp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45DAF728-41AE-1875-D96E-B7379EDD6C72}"/>
              </a:ext>
            </a:extLst>
          </p:cNvPr>
          <p:cNvSpPr txBox="1"/>
          <p:nvPr/>
        </p:nvSpPr>
        <p:spPr>
          <a:xfrm>
            <a:off x="1006404" y="9978186"/>
            <a:ext cx="3599298" cy="646331"/>
          </a:xfrm>
          <a:prstGeom prst="rect">
            <a:avLst/>
          </a:prstGeom>
          <a:solidFill>
            <a:srgbClr val="A0D2B4"/>
          </a:solidFill>
          <a:ln w="38100">
            <a:solidFill>
              <a:srgbClr val="233264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 err="1">
                <a:solidFill>
                  <a:prstClr val="black"/>
                </a:solidFill>
                <a:latin typeface="Calibri" panose="020F0502020204030204"/>
              </a:rPr>
              <a:t>Drop</a:t>
            </a:r>
            <a:r>
              <a:rPr lang="nb-NO" sz="3600">
                <a:solidFill>
                  <a:prstClr val="black"/>
                </a:solidFill>
                <a:latin typeface="Calibri" panose="020F0502020204030204"/>
              </a:rPr>
              <a:t>-in samtal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D02C022F-4784-33F4-2C96-59DE591FABB6}"/>
              </a:ext>
            </a:extLst>
          </p:cNvPr>
          <p:cNvSpPr txBox="1"/>
          <p:nvPr/>
        </p:nvSpPr>
        <p:spPr>
          <a:xfrm>
            <a:off x="9395286" y="4418347"/>
            <a:ext cx="2395260" cy="1200329"/>
          </a:xfrm>
          <a:prstGeom prst="rect">
            <a:avLst/>
          </a:prstGeom>
          <a:solidFill>
            <a:srgbClr val="FAD2E6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srgbClr val="233264"/>
                </a:solidFill>
                <a:latin typeface="Calibri" panose="020F0502020204030204"/>
              </a:rPr>
              <a:t>Kurs og grupper</a:t>
            </a:r>
          </a:p>
        </p:txBody>
      </p:sp>
      <p:cxnSp>
        <p:nvCxnSpPr>
          <p:cNvPr id="37" name="Rett pilkobling 36">
            <a:extLst>
              <a:ext uri="{FF2B5EF4-FFF2-40B4-BE49-F238E27FC236}">
                <a16:creationId xmlns:a16="http://schemas.microsoft.com/office/drawing/2014/main" id="{C6DD7111-B0FC-2367-BB82-68A466639420}"/>
              </a:ext>
            </a:extLst>
          </p:cNvPr>
          <p:cNvCxnSpPr>
            <a:cxnSpLocks/>
          </p:cNvCxnSpPr>
          <p:nvPr/>
        </p:nvCxnSpPr>
        <p:spPr>
          <a:xfrm flipH="1">
            <a:off x="4065254" y="6081910"/>
            <a:ext cx="3353324" cy="3684398"/>
          </a:xfrm>
          <a:prstGeom prst="straightConnector1">
            <a:avLst/>
          </a:prstGeom>
          <a:ln w="31750">
            <a:headEnd type="arrow" w="med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tt pilkobling 37">
            <a:extLst>
              <a:ext uri="{FF2B5EF4-FFF2-40B4-BE49-F238E27FC236}">
                <a16:creationId xmlns:a16="http://schemas.microsoft.com/office/drawing/2014/main" id="{043C4B70-52C9-5E77-B40E-5A2CA5D8D7D5}"/>
              </a:ext>
            </a:extLst>
          </p:cNvPr>
          <p:cNvCxnSpPr>
            <a:cxnSpLocks/>
          </p:cNvCxnSpPr>
          <p:nvPr/>
        </p:nvCxnSpPr>
        <p:spPr>
          <a:xfrm>
            <a:off x="10355079" y="2490191"/>
            <a:ext cx="253885" cy="1780206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tt pilkobling 38">
            <a:extLst>
              <a:ext uri="{FF2B5EF4-FFF2-40B4-BE49-F238E27FC236}">
                <a16:creationId xmlns:a16="http://schemas.microsoft.com/office/drawing/2014/main" id="{FC7A4543-0F98-ECF7-FE61-CC2EE04B55A3}"/>
              </a:ext>
            </a:extLst>
          </p:cNvPr>
          <p:cNvCxnSpPr>
            <a:cxnSpLocks/>
          </p:cNvCxnSpPr>
          <p:nvPr/>
        </p:nvCxnSpPr>
        <p:spPr>
          <a:xfrm>
            <a:off x="8356650" y="2477183"/>
            <a:ext cx="0" cy="1784008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tt pilkobling 47">
            <a:extLst>
              <a:ext uri="{FF2B5EF4-FFF2-40B4-BE49-F238E27FC236}">
                <a16:creationId xmlns:a16="http://schemas.microsoft.com/office/drawing/2014/main" id="{ED1A3994-32BF-C6DD-2881-7BBAE8136556}"/>
              </a:ext>
            </a:extLst>
          </p:cNvPr>
          <p:cNvCxnSpPr>
            <a:cxnSpLocks/>
          </p:cNvCxnSpPr>
          <p:nvPr/>
        </p:nvCxnSpPr>
        <p:spPr>
          <a:xfrm flipH="1">
            <a:off x="4825400" y="5871845"/>
            <a:ext cx="5546511" cy="3894464"/>
          </a:xfrm>
          <a:prstGeom prst="straightConnector1">
            <a:avLst/>
          </a:prstGeom>
          <a:ln w="31750">
            <a:headEnd type="arrow" w="med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ett pilkobling 54">
            <a:extLst>
              <a:ext uri="{FF2B5EF4-FFF2-40B4-BE49-F238E27FC236}">
                <a16:creationId xmlns:a16="http://schemas.microsoft.com/office/drawing/2014/main" id="{B94A433B-96DC-B687-8FD8-8B39EF90DFA4}"/>
              </a:ext>
            </a:extLst>
          </p:cNvPr>
          <p:cNvCxnSpPr>
            <a:cxnSpLocks/>
          </p:cNvCxnSpPr>
          <p:nvPr/>
        </p:nvCxnSpPr>
        <p:spPr>
          <a:xfrm>
            <a:off x="11090695" y="5871843"/>
            <a:ext cx="1546909" cy="3730723"/>
          </a:xfrm>
          <a:prstGeom prst="straightConnector1">
            <a:avLst/>
          </a:prstGeom>
          <a:ln w="31750">
            <a:headEnd type="arrow" w="med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Rett pilkobling 56">
            <a:extLst>
              <a:ext uri="{FF2B5EF4-FFF2-40B4-BE49-F238E27FC236}">
                <a16:creationId xmlns:a16="http://schemas.microsoft.com/office/drawing/2014/main" id="{1B8DBDA8-6EE1-01EF-409B-05BE94DB118A}"/>
              </a:ext>
            </a:extLst>
          </p:cNvPr>
          <p:cNvCxnSpPr>
            <a:cxnSpLocks/>
          </p:cNvCxnSpPr>
          <p:nvPr/>
        </p:nvCxnSpPr>
        <p:spPr>
          <a:xfrm>
            <a:off x="4964882" y="10388720"/>
            <a:ext cx="2233055" cy="354293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Rett pilkobling 59">
            <a:extLst>
              <a:ext uri="{FF2B5EF4-FFF2-40B4-BE49-F238E27FC236}">
                <a16:creationId xmlns:a16="http://schemas.microsoft.com/office/drawing/2014/main" id="{0559F9CA-AF8C-551B-3B68-52D8D67CFB71}"/>
              </a:ext>
            </a:extLst>
          </p:cNvPr>
          <p:cNvCxnSpPr>
            <a:cxnSpLocks/>
          </p:cNvCxnSpPr>
          <p:nvPr/>
        </p:nvCxnSpPr>
        <p:spPr>
          <a:xfrm>
            <a:off x="17205732" y="2860485"/>
            <a:ext cx="0" cy="716375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Rett pilkobling 62">
            <a:extLst>
              <a:ext uri="{FF2B5EF4-FFF2-40B4-BE49-F238E27FC236}">
                <a16:creationId xmlns:a16="http://schemas.microsoft.com/office/drawing/2014/main" id="{060BFD54-C105-E40D-4E15-7A827AD9D14D}"/>
              </a:ext>
            </a:extLst>
          </p:cNvPr>
          <p:cNvCxnSpPr>
            <a:cxnSpLocks/>
          </p:cNvCxnSpPr>
          <p:nvPr/>
        </p:nvCxnSpPr>
        <p:spPr>
          <a:xfrm flipH="1">
            <a:off x="19339205" y="2477183"/>
            <a:ext cx="1538464" cy="1211741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Rett pilkobling 71">
            <a:extLst>
              <a:ext uri="{FF2B5EF4-FFF2-40B4-BE49-F238E27FC236}">
                <a16:creationId xmlns:a16="http://schemas.microsoft.com/office/drawing/2014/main" id="{3AEDFC0C-E49C-4566-D1A7-9DA9C11BD832}"/>
              </a:ext>
            </a:extLst>
          </p:cNvPr>
          <p:cNvCxnSpPr>
            <a:cxnSpLocks/>
          </p:cNvCxnSpPr>
          <p:nvPr/>
        </p:nvCxnSpPr>
        <p:spPr>
          <a:xfrm>
            <a:off x="17205732" y="4817242"/>
            <a:ext cx="0" cy="727123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Rett pilkobling 73">
            <a:extLst>
              <a:ext uri="{FF2B5EF4-FFF2-40B4-BE49-F238E27FC236}">
                <a16:creationId xmlns:a16="http://schemas.microsoft.com/office/drawing/2014/main" id="{2563B5D3-8DD2-1AEC-9CB8-B04738AA8B8C}"/>
              </a:ext>
            </a:extLst>
          </p:cNvPr>
          <p:cNvCxnSpPr>
            <a:cxnSpLocks/>
          </p:cNvCxnSpPr>
          <p:nvPr/>
        </p:nvCxnSpPr>
        <p:spPr>
          <a:xfrm flipV="1">
            <a:off x="19180105" y="5956522"/>
            <a:ext cx="942871" cy="448413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Rett pilkobling 75">
            <a:extLst>
              <a:ext uri="{FF2B5EF4-FFF2-40B4-BE49-F238E27FC236}">
                <a16:creationId xmlns:a16="http://schemas.microsoft.com/office/drawing/2014/main" id="{4C651772-6BCF-1371-A954-A28A646B6DBF}"/>
              </a:ext>
            </a:extLst>
          </p:cNvPr>
          <p:cNvCxnSpPr>
            <a:cxnSpLocks/>
          </p:cNvCxnSpPr>
          <p:nvPr/>
        </p:nvCxnSpPr>
        <p:spPr>
          <a:xfrm>
            <a:off x="19210050" y="6934421"/>
            <a:ext cx="989650" cy="448419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pilkobling 77">
            <a:extLst>
              <a:ext uri="{FF2B5EF4-FFF2-40B4-BE49-F238E27FC236}">
                <a16:creationId xmlns:a16="http://schemas.microsoft.com/office/drawing/2014/main" id="{6AC60B01-483D-12FD-23F8-44ED58AFD097}"/>
              </a:ext>
            </a:extLst>
          </p:cNvPr>
          <p:cNvCxnSpPr>
            <a:cxnSpLocks/>
          </p:cNvCxnSpPr>
          <p:nvPr/>
        </p:nvCxnSpPr>
        <p:spPr>
          <a:xfrm>
            <a:off x="17205732" y="7690450"/>
            <a:ext cx="0" cy="1791619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0B44A1A9-CA7B-9928-5A1C-0296FF19332C}"/>
              </a:ext>
            </a:extLst>
          </p:cNvPr>
          <p:cNvSpPr txBox="1"/>
          <p:nvPr/>
        </p:nvSpPr>
        <p:spPr>
          <a:xfrm>
            <a:off x="683569" y="104146"/>
            <a:ext cx="119443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55"/>
            <a:r>
              <a:rPr lang="nb-NO" sz="4800" b="1">
                <a:solidFill>
                  <a:srgbClr val="233264"/>
                </a:solidFill>
                <a:latin typeface="Calibri" panose="020F0502020204030204"/>
              </a:rPr>
              <a:t>Forsøk på visualisering av mulig tjenesteflyt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F9046D75-D207-7D3A-22F5-B9EB938D9EC5}"/>
              </a:ext>
            </a:extLst>
          </p:cNvPr>
          <p:cNvSpPr txBox="1"/>
          <p:nvPr/>
        </p:nvSpPr>
        <p:spPr>
          <a:xfrm>
            <a:off x="2767808" y="2399049"/>
            <a:ext cx="2267594" cy="1200329"/>
          </a:xfrm>
          <a:prstGeom prst="rect">
            <a:avLst/>
          </a:prstGeom>
          <a:solidFill>
            <a:srgbClr val="A0D2B4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457155"/>
            <a:r>
              <a:rPr lang="nb-NO" sz="3600" dirty="0">
                <a:solidFill>
                  <a:prstClr val="black"/>
                </a:solidFill>
                <a:latin typeface="Calibri" panose="020F0502020204030204"/>
              </a:rPr>
              <a:t>Direkte oppmøte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EE790AD5-DA40-A842-F897-F53DF5D8CAD3}"/>
              </a:ext>
            </a:extLst>
          </p:cNvPr>
          <p:cNvSpPr txBox="1"/>
          <p:nvPr/>
        </p:nvSpPr>
        <p:spPr>
          <a:xfrm>
            <a:off x="104587" y="2399212"/>
            <a:ext cx="1768777" cy="1200329"/>
          </a:xfrm>
          <a:prstGeom prst="rect">
            <a:avLst/>
          </a:prstGeom>
          <a:solidFill>
            <a:srgbClr val="A0D2B4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457155"/>
            <a:r>
              <a:rPr lang="nb-NO" sz="3600" dirty="0">
                <a:solidFill>
                  <a:prstClr val="black"/>
                </a:solidFill>
                <a:latin typeface="Calibri" panose="020F0502020204030204"/>
              </a:rPr>
              <a:t>Booke via app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CB9CB14-4281-407E-42F3-30553543E780}"/>
              </a:ext>
            </a:extLst>
          </p:cNvPr>
          <p:cNvSpPr txBox="1"/>
          <p:nvPr/>
        </p:nvSpPr>
        <p:spPr>
          <a:xfrm>
            <a:off x="11318842" y="9870326"/>
            <a:ext cx="3599296" cy="2308324"/>
          </a:xfrm>
          <a:prstGeom prst="rect">
            <a:avLst/>
          </a:prstGeom>
          <a:solidFill>
            <a:srgbClr val="F0C8A0"/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457155"/>
            <a:r>
              <a:rPr lang="nb-NO" sz="3600">
                <a:solidFill>
                  <a:prstClr val="black"/>
                </a:solidFill>
                <a:latin typeface="Calibri" panose="020F0502020204030204"/>
              </a:rPr>
              <a:t>Oppfølging ved behov med fast kontaktperson</a:t>
            </a:r>
            <a:br>
              <a:rPr lang="nb-NO" sz="3600">
                <a:solidFill>
                  <a:prstClr val="black"/>
                </a:solidFill>
                <a:latin typeface="Calibri" panose="020F0502020204030204"/>
              </a:rPr>
            </a:br>
            <a:r>
              <a:rPr lang="nb-NO" sz="3600">
                <a:solidFill>
                  <a:prstClr val="black"/>
                </a:solidFill>
                <a:latin typeface="Calibri" panose="020F0502020204030204"/>
              </a:rPr>
              <a:t>PHV</a:t>
            </a:r>
          </a:p>
        </p:txBody>
      </p:sp>
      <p:cxnSp>
        <p:nvCxnSpPr>
          <p:cNvPr id="4" name="Rett pilkobling 3">
            <a:extLst>
              <a:ext uri="{FF2B5EF4-FFF2-40B4-BE49-F238E27FC236}">
                <a16:creationId xmlns:a16="http://schemas.microsoft.com/office/drawing/2014/main" id="{ECAA0241-4878-DBE4-6CFE-2E667A8E4C6E}"/>
              </a:ext>
            </a:extLst>
          </p:cNvPr>
          <p:cNvCxnSpPr>
            <a:cxnSpLocks/>
          </p:cNvCxnSpPr>
          <p:nvPr/>
        </p:nvCxnSpPr>
        <p:spPr>
          <a:xfrm>
            <a:off x="10641649" y="5850332"/>
            <a:ext cx="0" cy="3752234"/>
          </a:xfrm>
          <a:prstGeom prst="straightConnector1">
            <a:avLst/>
          </a:prstGeom>
          <a:ln w="31750">
            <a:headEnd type="arrow" w="med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ett pilkobling 5">
            <a:extLst>
              <a:ext uri="{FF2B5EF4-FFF2-40B4-BE49-F238E27FC236}">
                <a16:creationId xmlns:a16="http://schemas.microsoft.com/office/drawing/2014/main" id="{5C63E644-6EB5-A685-2D38-7A809CE25B17}"/>
              </a:ext>
            </a:extLst>
          </p:cNvPr>
          <p:cNvCxnSpPr>
            <a:cxnSpLocks/>
          </p:cNvCxnSpPr>
          <p:nvPr/>
        </p:nvCxnSpPr>
        <p:spPr>
          <a:xfrm>
            <a:off x="8145749" y="6111986"/>
            <a:ext cx="579764" cy="3379730"/>
          </a:xfrm>
          <a:prstGeom prst="straightConnector1">
            <a:avLst/>
          </a:prstGeom>
          <a:ln w="31750">
            <a:headEnd type="arrow" w="med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tt pilkobling 13">
            <a:extLst>
              <a:ext uri="{FF2B5EF4-FFF2-40B4-BE49-F238E27FC236}">
                <a16:creationId xmlns:a16="http://schemas.microsoft.com/office/drawing/2014/main" id="{D78FEF21-34DC-FD55-1F23-98E1BE7A2342}"/>
              </a:ext>
            </a:extLst>
          </p:cNvPr>
          <p:cNvCxnSpPr>
            <a:cxnSpLocks/>
          </p:cNvCxnSpPr>
          <p:nvPr/>
        </p:nvCxnSpPr>
        <p:spPr>
          <a:xfrm>
            <a:off x="8778846" y="6081909"/>
            <a:ext cx="3116261" cy="3530142"/>
          </a:xfrm>
          <a:prstGeom prst="straightConnector1">
            <a:avLst/>
          </a:prstGeom>
          <a:ln w="31750">
            <a:headEnd type="arrow" w="med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kobling 24">
            <a:extLst>
              <a:ext uri="{FF2B5EF4-FFF2-40B4-BE49-F238E27FC236}">
                <a16:creationId xmlns:a16="http://schemas.microsoft.com/office/drawing/2014/main" id="{A743B374-B80A-C953-7BBD-89BB82161A6F}"/>
              </a:ext>
            </a:extLst>
          </p:cNvPr>
          <p:cNvCxnSpPr>
            <a:cxnSpLocks/>
          </p:cNvCxnSpPr>
          <p:nvPr/>
        </p:nvCxnSpPr>
        <p:spPr>
          <a:xfrm flipH="1">
            <a:off x="14295794" y="7659878"/>
            <a:ext cx="1621496" cy="1754406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kobling 33">
            <a:extLst>
              <a:ext uri="{FF2B5EF4-FFF2-40B4-BE49-F238E27FC236}">
                <a16:creationId xmlns:a16="http://schemas.microsoft.com/office/drawing/2014/main" id="{AD35C019-E039-42E5-B814-01FA0F9F1CAB}"/>
              </a:ext>
            </a:extLst>
          </p:cNvPr>
          <p:cNvCxnSpPr>
            <a:cxnSpLocks/>
          </p:cNvCxnSpPr>
          <p:nvPr/>
        </p:nvCxnSpPr>
        <p:spPr>
          <a:xfrm flipH="1">
            <a:off x="2690688" y="3871036"/>
            <a:ext cx="949341" cy="5620676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ett pilkobling 42">
            <a:extLst>
              <a:ext uri="{FF2B5EF4-FFF2-40B4-BE49-F238E27FC236}">
                <a16:creationId xmlns:a16="http://schemas.microsoft.com/office/drawing/2014/main" id="{6E9683AB-7347-C9F1-C043-C46EB27FD27A}"/>
              </a:ext>
            </a:extLst>
          </p:cNvPr>
          <p:cNvCxnSpPr>
            <a:cxnSpLocks/>
          </p:cNvCxnSpPr>
          <p:nvPr/>
        </p:nvCxnSpPr>
        <p:spPr>
          <a:xfrm>
            <a:off x="1031026" y="3846076"/>
            <a:ext cx="656463" cy="5624542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tt pilkobling 46">
            <a:extLst>
              <a:ext uri="{FF2B5EF4-FFF2-40B4-BE49-F238E27FC236}">
                <a16:creationId xmlns:a16="http://schemas.microsoft.com/office/drawing/2014/main" id="{AD59A1FB-929C-4C30-1D4E-4E6BF8BC6992}"/>
              </a:ext>
            </a:extLst>
          </p:cNvPr>
          <p:cNvCxnSpPr>
            <a:cxnSpLocks/>
          </p:cNvCxnSpPr>
          <p:nvPr/>
        </p:nvCxnSpPr>
        <p:spPr>
          <a:xfrm flipH="1">
            <a:off x="3456027" y="2379567"/>
            <a:ext cx="3586037" cy="7222998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ett pilkobling 51">
            <a:extLst>
              <a:ext uri="{FF2B5EF4-FFF2-40B4-BE49-F238E27FC236}">
                <a16:creationId xmlns:a16="http://schemas.microsoft.com/office/drawing/2014/main" id="{A27D2C75-9FF7-46CF-40F4-65B955C0CD1B}"/>
              </a:ext>
            </a:extLst>
          </p:cNvPr>
          <p:cNvCxnSpPr>
            <a:cxnSpLocks/>
          </p:cNvCxnSpPr>
          <p:nvPr/>
        </p:nvCxnSpPr>
        <p:spPr>
          <a:xfrm flipH="1" flipV="1">
            <a:off x="5219680" y="2467307"/>
            <a:ext cx="9886860" cy="1544825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Rett pilkobling 61">
            <a:extLst>
              <a:ext uri="{FF2B5EF4-FFF2-40B4-BE49-F238E27FC236}">
                <a16:creationId xmlns:a16="http://schemas.microsoft.com/office/drawing/2014/main" id="{86F959DF-3366-D33B-0093-E6DC8C7D92B6}"/>
              </a:ext>
            </a:extLst>
          </p:cNvPr>
          <p:cNvCxnSpPr>
            <a:cxnSpLocks/>
          </p:cNvCxnSpPr>
          <p:nvPr/>
        </p:nvCxnSpPr>
        <p:spPr>
          <a:xfrm flipH="1" flipV="1">
            <a:off x="1887837" y="2860485"/>
            <a:ext cx="13235590" cy="1400707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Rett pilkobling 64">
            <a:extLst>
              <a:ext uri="{FF2B5EF4-FFF2-40B4-BE49-F238E27FC236}">
                <a16:creationId xmlns:a16="http://schemas.microsoft.com/office/drawing/2014/main" id="{AEE46702-2841-EAD6-1016-433CBF80B240}"/>
              </a:ext>
            </a:extLst>
          </p:cNvPr>
          <p:cNvCxnSpPr>
            <a:cxnSpLocks/>
          </p:cNvCxnSpPr>
          <p:nvPr/>
        </p:nvCxnSpPr>
        <p:spPr>
          <a:xfrm flipH="1" flipV="1">
            <a:off x="11429624" y="2588827"/>
            <a:ext cx="3676919" cy="1100098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Rett pilkobling 79">
            <a:extLst>
              <a:ext uri="{FF2B5EF4-FFF2-40B4-BE49-F238E27FC236}">
                <a16:creationId xmlns:a16="http://schemas.microsoft.com/office/drawing/2014/main" id="{763EADCE-20EE-47FB-802E-DE59D3CA7EC5}"/>
              </a:ext>
            </a:extLst>
          </p:cNvPr>
          <p:cNvCxnSpPr>
            <a:cxnSpLocks/>
          </p:cNvCxnSpPr>
          <p:nvPr/>
        </p:nvCxnSpPr>
        <p:spPr>
          <a:xfrm>
            <a:off x="12974482" y="1889016"/>
            <a:ext cx="1028215" cy="0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Rett pilkobling 83">
            <a:extLst>
              <a:ext uri="{FF2B5EF4-FFF2-40B4-BE49-F238E27FC236}">
                <a16:creationId xmlns:a16="http://schemas.microsoft.com/office/drawing/2014/main" id="{D192D5ED-70E0-AE73-DDBA-CE99468938D0}"/>
              </a:ext>
            </a:extLst>
          </p:cNvPr>
          <p:cNvCxnSpPr>
            <a:cxnSpLocks/>
          </p:cNvCxnSpPr>
          <p:nvPr/>
        </p:nvCxnSpPr>
        <p:spPr>
          <a:xfrm flipV="1">
            <a:off x="5055579" y="2972990"/>
            <a:ext cx="11403344" cy="7163020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6490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9A370E3-9315-B983-FDBB-15FAE405CC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5365854"/>
          </a:xfrm>
        </p:spPr>
        <p:txBody>
          <a:bodyPr anchor="t">
            <a:normAutofit/>
          </a:bodyPr>
          <a:lstStyle/>
          <a:p>
            <a:pPr algn="just"/>
            <a:r>
              <a:rPr lang="nb-NO" dirty="0"/>
              <a:t>						</a:t>
            </a:r>
            <a:br>
              <a:rPr lang="nb-NO" dirty="0"/>
            </a:br>
            <a:r>
              <a:rPr lang="nb-NO" dirty="0"/>
              <a:t>				</a:t>
            </a:r>
            <a:r>
              <a:rPr lang="nb-NO" sz="15000" dirty="0"/>
              <a:t>Hjelp!</a:t>
            </a:r>
          </a:p>
        </p:txBody>
      </p:sp>
      <p:sp>
        <p:nvSpPr>
          <p:cNvPr id="4" name="Plassholder for dato 3" hidden="1">
            <a:extLst>
              <a:ext uri="{FF2B5EF4-FFF2-40B4-BE49-F238E27FC236}">
                <a16:creationId xmlns:a16="http://schemas.microsoft.com/office/drawing/2014/main" id="{1DA930F8-FEAF-A089-096F-3A52E49F51F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487600" y="12442191"/>
            <a:ext cx="1357200" cy="730250"/>
          </a:xfrm>
        </p:spPr>
        <p:txBody>
          <a:bodyPr/>
          <a:lstStyle/>
          <a:p>
            <a:pPr>
              <a:spcAft>
                <a:spcPts val="600"/>
              </a:spcAft>
            </a:pPr>
            <a:fld id="{10E11E8B-E878-4A24-8845-AE84F13849D7}" type="datetime1">
              <a:rPr lang="nb-NO" smtClean="0"/>
              <a:pPr>
                <a:spcAft>
                  <a:spcPts val="600"/>
                </a:spcAft>
              </a:pPr>
              <a:t>19.04.2026</a:t>
            </a:fld>
            <a:endParaRPr lang="nb-NO"/>
          </a:p>
        </p:txBody>
      </p:sp>
      <p:sp>
        <p:nvSpPr>
          <p:cNvPr id="6" name="Plassholder for lysbildenummer 5" hidden="1">
            <a:extLst>
              <a:ext uri="{FF2B5EF4-FFF2-40B4-BE49-F238E27FC236}">
                <a16:creationId xmlns:a16="http://schemas.microsoft.com/office/drawing/2014/main" id="{171CCEA6-6F8C-7804-7515-E4419B549F5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5511" y="12442191"/>
            <a:ext cx="477839" cy="730250"/>
          </a:xfrm>
        </p:spPr>
        <p:txBody>
          <a:bodyPr/>
          <a:lstStyle/>
          <a:p>
            <a:pPr>
              <a:spcAft>
                <a:spcPts val="600"/>
              </a:spcAft>
            </a:pPr>
            <a:fld id="{4EDEECE4-2E6D-4ABF-8703-BF0957D740A4}" type="slidenum">
              <a:rPr lang="nb-NO" smtClean="0"/>
              <a:pPr>
                <a:spcAft>
                  <a:spcPts val="600"/>
                </a:spcAft>
              </a:pPr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0003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244C77-ECD4-21C4-B327-CABE487BFC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92514" y="495016"/>
            <a:ext cx="15379200" cy="1203156"/>
          </a:xfrm>
        </p:spPr>
        <p:txBody>
          <a:bodyPr/>
          <a:lstStyle/>
          <a:p>
            <a:r>
              <a:rPr lang="nb-NO" dirty="0"/>
              <a:t>Designsprint og brukerreise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B690C4A7-561F-E786-F792-85CB38E7C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543" y="2378249"/>
            <a:ext cx="20755429" cy="8959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070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923D389A-4219-D6C8-D938-399A870F5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ookingløsning – </a:t>
            </a:r>
            <a:r>
              <a:rPr lang="nb-NO" dirty="0" err="1"/>
              <a:t>Drop</a:t>
            </a:r>
            <a:r>
              <a:rPr lang="nb-NO" dirty="0"/>
              <a:t>-i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E1AAB6E-50FA-8C7B-942B-82A650E70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DB352-00F1-4EEB-92CF-6618CFEC6EB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0D1BE4A-3F34-B0BD-40EA-3724F62E5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B20CD3A-763E-7AAE-6BEA-EDEBB08A6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8</a:t>
            </a:fld>
            <a:endParaRPr lang="nb-NO"/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E657B8C8-4107-9D96-73A5-6603AB48FE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75851" y="4014438"/>
            <a:ext cx="11762451" cy="7694341"/>
          </a:xfrm>
        </p:spPr>
      </p:pic>
    </p:spTree>
    <p:extLst>
      <p:ext uri="{BB962C8B-B14F-4D97-AF65-F5344CB8AC3E}">
        <p14:creationId xmlns:p14="http://schemas.microsoft.com/office/powerpoint/2010/main" val="26165439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2EDE8975-5248-A55A-4C71-A8344CEE30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67707" y="2185639"/>
            <a:ext cx="10370633" cy="9679259"/>
          </a:xfrm>
        </p:spPr>
      </p:pic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31E89A8-B42C-ABF6-1225-4D766F678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810D-3E41-497E-86BD-A37FBEFD4C88}" type="datetime1">
              <a:rPr lang="nb-NO" smtClean="0"/>
              <a:t>19.04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57AB9C7-9808-9E3D-D5EE-5481D6EE7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illestrøm kommune: tillit inkludering nyskaping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920F542-B245-91C4-AC67-5AEA56B15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165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Lillestrøm kommune">
  <a:themeElements>
    <a:clrScheme name="Lillestrøm kommune">
      <a:dk1>
        <a:srgbClr val="233264"/>
      </a:dk1>
      <a:lt1>
        <a:srgbClr val="FFFFFF"/>
      </a:lt1>
      <a:dk2>
        <a:srgbClr val="000000"/>
      </a:dk2>
      <a:lt2>
        <a:srgbClr val="FAD2E6"/>
      </a:lt2>
      <a:accent1>
        <a:srgbClr val="3C78B4"/>
      </a:accent1>
      <a:accent2>
        <a:srgbClr val="233264"/>
      </a:accent2>
      <a:accent3>
        <a:srgbClr val="F07850"/>
      </a:accent3>
      <a:accent4>
        <a:srgbClr val="F0C8A0"/>
      </a:accent4>
      <a:accent5>
        <a:srgbClr val="FAD2E6"/>
      </a:accent5>
      <a:accent6>
        <a:srgbClr val="A0D2B4"/>
      </a:accent6>
      <a:hlink>
        <a:srgbClr val="3C78B4"/>
      </a:hlink>
      <a:folHlink>
        <a:srgbClr val="868686"/>
      </a:folHlink>
    </a:clrScheme>
    <a:fontScheme name="Arial-simp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llestrøm kommune - standardmal2021.pptx" id="{D6B13E0D-A198-414E-B885-CDE7B9218711}" vid="{1D795661-0D89-46A0-9979-CD37C376A9BD}"/>
    </a:ext>
  </a:extLst>
</a:theme>
</file>

<file path=ppt/theme/theme3.xml><?xml version="1.0" encoding="utf-8"?>
<a:theme xmlns:a="http://schemas.openxmlformats.org/drawingml/2006/main" name="4_Lillestrøm kommune">
  <a:themeElements>
    <a:clrScheme name="Lillestrøm kommune">
      <a:dk1>
        <a:srgbClr val="233264"/>
      </a:dk1>
      <a:lt1>
        <a:srgbClr val="FFFFFF"/>
      </a:lt1>
      <a:dk2>
        <a:srgbClr val="000000"/>
      </a:dk2>
      <a:lt2>
        <a:srgbClr val="FAD2E6"/>
      </a:lt2>
      <a:accent1>
        <a:srgbClr val="3C78B4"/>
      </a:accent1>
      <a:accent2>
        <a:srgbClr val="233264"/>
      </a:accent2>
      <a:accent3>
        <a:srgbClr val="F07850"/>
      </a:accent3>
      <a:accent4>
        <a:srgbClr val="F0C8A0"/>
      </a:accent4>
      <a:accent5>
        <a:srgbClr val="FAD2E6"/>
      </a:accent5>
      <a:accent6>
        <a:srgbClr val="A0D2B4"/>
      </a:accent6>
      <a:hlink>
        <a:srgbClr val="3C78B4"/>
      </a:hlink>
      <a:folHlink>
        <a:srgbClr val="868686"/>
      </a:folHlink>
    </a:clrScheme>
    <a:fontScheme name="Arial-simp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llestrøm kommune - standardmal2021.pptx" id="{D6B13E0D-A198-414E-B885-CDE7B9218711}" vid="{1D795661-0D89-46A0-9979-CD37C376A9BD}"/>
    </a:ext>
  </a:extLst>
</a:theme>
</file>

<file path=ppt/theme/theme4.xml><?xml version="1.0" encoding="utf-8"?>
<a:theme xmlns:a="http://schemas.openxmlformats.org/drawingml/2006/main" name="1_Lillestrøm kommune">
  <a:themeElements>
    <a:clrScheme name="Lillestrøm kommune">
      <a:dk1>
        <a:srgbClr val="233264"/>
      </a:dk1>
      <a:lt1>
        <a:srgbClr val="FFFFFF"/>
      </a:lt1>
      <a:dk2>
        <a:srgbClr val="000000"/>
      </a:dk2>
      <a:lt2>
        <a:srgbClr val="FAD2E6"/>
      </a:lt2>
      <a:accent1>
        <a:srgbClr val="3C78B4"/>
      </a:accent1>
      <a:accent2>
        <a:srgbClr val="233264"/>
      </a:accent2>
      <a:accent3>
        <a:srgbClr val="F07850"/>
      </a:accent3>
      <a:accent4>
        <a:srgbClr val="F0C8A0"/>
      </a:accent4>
      <a:accent5>
        <a:srgbClr val="FAD2E6"/>
      </a:accent5>
      <a:accent6>
        <a:srgbClr val="A0D2B4"/>
      </a:accent6>
      <a:hlink>
        <a:srgbClr val="3C78B4"/>
      </a:hlink>
      <a:folHlink>
        <a:srgbClr val="868686"/>
      </a:folHlink>
    </a:clrScheme>
    <a:fontScheme name="Arial-simp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llestrøm kommune - standardmal2021.pptx" id="{D6B13E0D-A198-414E-B885-CDE7B9218711}" vid="{1D795661-0D89-46A0-9979-CD37C376A9BD}"/>
    </a:ext>
  </a:extLst>
</a:theme>
</file>

<file path=ppt/theme/theme5.xml><?xml version="1.0" encoding="utf-8"?>
<a:theme xmlns:a="http://schemas.openxmlformats.org/drawingml/2006/main" name="Lillestrøm kommune">
  <a:themeElements>
    <a:clrScheme name="Lillestrøm kommune">
      <a:dk1>
        <a:srgbClr val="233264"/>
      </a:dk1>
      <a:lt1>
        <a:srgbClr val="FFFFFF"/>
      </a:lt1>
      <a:dk2>
        <a:srgbClr val="000000"/>
      </a:dk2>
      <a:lt2>
        <a:srgbClr val="FAD2E6"/>
      </a:lt2>
      <a:accent1>
        <a:srgbClr val="3C78B4"/>
      </a:accent1>
      <a:accent2>
        <a:srgbClr val="233264"/>
      </a:accent2>
      <a:accent3>
        <a:srgbClr val="F07850"/>
      </a:accent3>
      <a:accent4>
        <a:srgbClr val="F0C8A0"/>
      </a:accent4>
      <a:accent5>
        <a:srgbClr val="FAD2E6"/>
      </a:accent5>
      <a:accent6>
        <a:srgbClr val="A0D2B4"/>
      </a:accent6>
      <a:hlink>
        <a:srgbClr val="3C78B4"/>
      </a:hlink>
      <a:folHlink>
        <a:srgbClr val="868686"/>
      </a:folHlink>
    </a:clrScheme>
    <a:fontScheme name="Arial-simp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D1074593-CC33-498E-81A7-3D02FEA6273A}" vid="{149AE97E-4F00-4C98-90F1-76FC05E819C7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0C3B95AFB9DC4C96287023012FD11F" ma:contentTypeVersion="11" ma:contentTypeDescription="Opprett et nytt dokument." ma:contentTypeScope="" ma:versionID="5279cff0824443707fc2b754d5d3252a">
  <xsd:schema xmlns:xsd="http://www.w3.org/2001/XMLSchema" xmlns:xs="http://www.w3.org/2001/XMLSchema" xmlns:p="http://schemas.microsoft.com/office/2006/metadata/properties" xmlns:ns3="2b1fc751-3577-451e-9be7-21965ca53b55" xmlns:ns4="e98c4dcd-d620-4f61-8de7-90ab837fe9c1" targetNamespace="http://schemas.microsoft.com/office/2006/metadata/properties" ma:root="true" ma:fieldsID="ccfd394485dc9fb3747f94ed9f67d2b1" ns3:_="" ns4:_="">
    <xsd:import namespace="2b1fc751-3577-451e-9be7-21965ca53b55"/>
    <xsd:import namespace="e98c4dcd-d620-4f61-8de7-90ab837fe9c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1fc751-3577-451e-9be7-21965ca53b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for deling av tips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8c4dcd-d620-4f61-8de7-90ab837fe9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85DFC6D-388E-4FD6-9AD8-D6172FE01D5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BB852C-F6D8-4A39-9EC0-0AACFC6A3C70}">
  <ds:schemaRefs>
    <ds:schemaRef ds:uri="2b1fc751-3577-451e-9be7-21965ca53b55"/>
    <ds:schemaRef ds:uri="e98c4dcd-d620-4f61-8de7-90ab837fe9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2298B54-829F-4241-AD22-BF6FDA45B60A}">
  <ds:schemaRefs>
    <ds:schemaRef ds:uri="http://schemas.microsoft.com/office/2006/metadata/properties"/>
    <ds:schemaRef ds:uri="2b1fc751-3577-451e-9be7-21965ca53b55"/>
    <ds:schemaRef ds:uri="e98c4dcd-d620-4f61-8de7-90ab837fe9c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illestrøm kommune – standard mal</Template>
  <TotalTime>2345</TotalTime>
  <Words>661</Words>
  <Application>Microsoft Office PowerPoint</Application>
  <PresentationFormat>Egendefinert</PresentationFormat>
  <Paragraphs>164</Paragraphs>
  <Slides>18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5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8" baseType="lpstr">
      <vt:lpstr>Aptos</vt:lpstr>
      <vt:lpstr>Arial</vt:lpstr>
      <vt:lpstr>Calibri</vt:lpstr>
      <vt:lpstr>Calibri Light</vt:lpstr>
      <vt:lpstr>Office-tema</vt:lpstr>
      <vt:lpstr>1_Lillestrøm kommune</vt:lpstr>
      <vt:lpstr>4_Lillestrøm kommune</vt:lpstr>
      <vt:lpstr>1_Lillestrøm kommune</vt:lpstr>
      <vt:lpstr>Lillestrøm kommune</vt:lpstr>
      <vt:lpstr>think-cell Slide</vt:lpstr>
      <vt:lpstr>PowerPoint-presentasjon</vt:lpstr>
      <vt:lpstr>Fremtiden er nå!</vt:lpstr>
      <vt:lpstr>Effektivisere - når og hvordan?</vt:lpstr>
      <vt:lpstr>PowerPoint-presentasjon</vt:lpstr>
      <vt:lpstr>PowerPoint-presentasjon</vt:lpstr>
      <vt:lpstr>           Hjelp!</vt:lpstr>
      <vt:lpstr>Designsprint og brukerreise</vt:lpstr>
      <vt:lpstr>Bookingløsning – Drop-in</vt:lpstr>
      <vt:lpstr>PowerPoint-presentasjon</vt:lpstr>
      <vt:lpstr>PowerPoint-presentasjon</vt:lpstr>
      <vt:lpstr>PowerPoint-presentasjon</vt:lpstr>
      <vt:lpstr>Oversikt over bookinger</vt:lpstr>
      <vt:lpstr>Blir bookingløsningen brukt?  Fra oppstart 14.10.24 og frem til 31.03.26</vt:lpstr>
      <vt:lpstr>Bookingløsning når innbygger har behandler</vt:lpstr>
      <vt:lpstr>Gir slike bookingløsninger gevinster?</vt:lpstr>
      <vt:lpstr>Andre gevinster…</vt:lpstr>
      <vt:lpstr>Hva har vi brukt gevinsten til? </vt:lpstr>
      <vt:lpstr>Takk for meg!     Lillestrøm kommune, psykisk helse og avhengighet   elisabet.eide-fallet@lillestrøm@kommune.no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Linda Årnes Gulbrandsen</dc:creator>
  <cp:lastModifiedBy>Elisabet Eide-Fallet</cp:lastModifiedBy>
  <cp:revision>3</cp:revision>
  <dcterms:created xsi:type="dcterms:W3CDTF">2020-03-10T09:32:01Z</dcterms:created>
  <dcterms:modified xsi:type="dcterms:W3CDTF">2026-04-20T09:3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0C3B95AFB9DC4C96287023012FD11F</vt:lpwstr>
  </property>
</Properties>
</file>